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6" r:id="rId1"/>
  </p:sldMasterIdLst>
  <p:notesMasterIdLst>
    <p:notesMasterId r:id="rId35"/>
  </p:notesMasterIdLst>
  <p:handoutMasterIdLst>
    <p:handoutMasterId r:id="rId36"/>
  </p:handoutMasterIdLst>
  <p:sldIdLst>
    <p:sldId id="275" r:id="rId2"/>
    <p:sldId id="737" r:id="rId3"/>
    <p:sldId id="779" r:id="rId4"/>
    <p:sldId id="738" r:id="rId5"/>
    <p:sldId id="740" r:id="rId6"/>
    <p:sldId id="739" r:id="rId7"/>
    <p:sldId id="776" r:id="rId8"/>
    <p:sldId id="777" r:id="rId9"/>
    <p:sldId id="745" r:id="rId10"/>
    <p:sldId id="744" r:id="rId11"/>
    <p:sldId id="754" r:id="rId12"/>
    <p:sldId id="755" r:id="rId13"/>
    <p:sldId id="757" r:id="rId14"/>
    <p:sldId id="783" r:id="rId15"/>
    <p:sldId id="782" r:id="rId16"/>
    <p:sldId id="752" r:id="rId17"/>
    <p:sldId id="753" r:id="rId18"/>
    <p:sldId id="758" r:id="rId19"/>
    <p:sldId id="759" r:id="rId20"/>
    <p:sldId id="760" r:id="rId21"/>
    <p:sldId id="762" r:id="rId22"/>
    <p:sldId id="761" r:id="rId23"/>
    <p:sldId id="763" r:id="rId24"/>
    <p:sldId id="784" r:id="rId25"/>
    <p:sldId id="778" r:id="rId26"/>
    <p:sldId id="766" r:id="rId27"/>
    <p:sldId id="769" r:id="rId28"/>
    <p:sldId id="770" r:id="rId29"/>
    <p:sldId id="780" r:id="rId30"/>
    <p:sldId id="773" r:id="rId31"/>
    <p:sldId id="774" r:id="rId32"/>
    <p:sldId id="772" r:id="rId33"/>
    <p:sldId id="732" r:id="rId34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0130"/>
    <a:srgbClr val="A1012B"/>
    <a:srgbClr val="800000"/>
    <a:srgbClr val="4987E6"/>
    <a:srgbClr val="FFFFFF"/>
    <a:srgbClr val="EF4723"/>
    <a:srgbClr val="A81F2F"/>
    <a:srgbClr val="145778"/>
    <a:srgbClr val="0060A9"/>
    <a:srgbClr val="4068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38" autoAdjust="0"/>
    <p:restoredTop sz="94975" autoAdjust="0"/>
  </p:normalViewPr>
  <p:slideViewPr>
    <p:cSldViewPr snapToGrid="0" snapToObjects="1">
      <p:cViewPr varScale="1">
        <p:scale>
          <a:sx n="150" d="100"/>
          <a:sy n="150" d="100"/>
        </p:scale>
        <p:origin x="690" y="12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98EAD-6581-194E-A57E-DE45FE334E86}" type="datetimeFigureOut">
              <a:rPr lang="fr-FR" smtClean="0"/>
              <a:t>07/09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902DA-30F8-D741-B13D-E060E5799F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3159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2A467-0C5A-AC4A-8ADC-86CE54B10D05}" type="datetimeFigureOut">
              <a:rPr lang="fr-FR" smtClean="0"/>
              <a:t>07/09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424ED-AD3B-9244-9118-4E653F6AFB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2904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6765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-11314"/>
            <a:ext cx="9144000" cy="5154814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 rotWithShape="1">
          <a:blip r:embed="rId2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53" b="25754"/>
          <a:stretch/>
        </p:blipFill>
        <p:spPr>
          <a:xfrm>
            <a:off x="171489" y="2634207"/>
            <a:ext cx="8972511" cy="2279465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3653" y="1199420"/>
            <a:ext cx="8636876" cy="1371600"/>
          </a:xfrm>
          <a:prstGeom prst="rect">
            <a:avLst/>
          </a:prstGeom>
        </p:spPr>
        <p:txBody>
          <a:bodyPr anchor="b"/>
          <a:lstStyle>
            <a:lvl1pPr algn="r">
              <a:defRPr sz="1800" b="0" spc="600" baseline="0"/>
            </a:lvl1pPr>
          </a:lstStyle>
          <a:p>
            <a:r>
              <a:rPr lang="en-US" noProof="0"/>
              <a:t>CLIQUEZ ET MODIFIEZ LE TITR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4708916"/>
            <a:ext cx="9144000" cy="434584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lennox_emea_vert - blanc.png"/>
          <p:cNvPicPr>
            <a:picLocks noChangeAspect="1"/>
          </p:cNvPicPr>
          <p:nvPr userDrawn="1"/>
        </p:nvPicPr>
        <p:blipFill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653" y="-16339"/>
            <a:ext cx="524730" cy="74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6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7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622574"/>
            <a:ext cx="8407893" cy="414468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9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CLIQUEZ ET MODIFIEZ LE TITR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QUEZ POUR MODIFIER LE STYLE DES SOUS-TITRES DU MASQU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2260D1E1-D05C-694E-8535-986F84B0D1B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692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en-US" noProof="0"/>
              <a:t>CLIQUEZ ET MODIFIEZ LE TITR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QUEZ POUR MODIFIER LE STYLE DES SOUS-TITRES DU MASQUE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35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-11314"/>
            <a:ext cx="9144000" cy="640007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352067"/>
            <a:ext cx="9144000" cy="276627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/>
              <a:cs typeface="Arial"/>
            </a:endParaRPr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9587"/>
            <a:ext cx="1008112" cy="29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71" r:id="rId3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400" b="1" kern="1200" cap="none" spc="300" baseline="0">
          <a:ln>
            <a:noFill/>
          </a:ln>
          <a:solidFill>
            <a:schemeClr val="bg1"/>
          </a:solidFill>
          <a:effectLst/>
          <a:latin typeface="Arial"/>
          <a:ea typeface="+mj-ea"/>
          <a:cs typeface="Arial"/>
        </a:defRPr>
      </a:lvl1pPr>
    </p:titleStyle>
    <p:bodyStyle>
      <a:lvl1pPr marL="27432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sz="2000" kern="1200" spc="150" baseline="0">
          <a:solidFill>
            <a:schemeClr val="tx2"/>
          </a:solidFill>
          <a:latin typeface="Arial"/>
          <a:ea typeface="+mn-ea"/>
          <a:cs typeface="Arial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800" kern="1200" spc="100" baseline="0">
          <a:solidFill>
            <a:schemeClr val="tx2"/>
          </a:solidFill>
          <a:latin typeface="Arial"/>
          <a:ea typeface="+mn-ea"/>
          <a:cs typeface="Arial"/>
        </a:defRPr>
      </a:lvl2pPr>
      <a:lvl3pPr marL="82296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600" kern="1200" spc="100" baseline="0">
          <a:solidFill>
            <a:schemeClr val="tx2"/>
          </a:solidFill>
          <a:latin typeface="Arial"/>
          <a:ea typeface="+mn-ea"/>
          <a:cs typeface="Arial"/>
        </a:defRPr>
      </a:lvl3pPr>
      <a:lvl4pPr marL="1097280" indent="-182880" algn="l" defTabSz="914400" rtl="0" eaLnBrk="1" latinLnBrk="0" hangingPunct="1">
        <a:spcBef>
          <a:spcPct val="20000"/>
        </a:spcBef>
        <a:buClr>
          <a:schemeClr val="accent4"/>
        </a:buClr>
        <a:buFont typeface="Wingdings" pitchFamily="2" charset="2"/>
        <a:buChar char="§"/>
        <a:defRPr sz="1400" kern="1200">
          <a:solidFill>
            <a:schemeClr val="tx2"/>
          </a:solidFill>
          <a:latin typeface="Arial"/>
          <a:ea typeface="+mn-ea"/>
          <a:cs typeface="Arial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6"/>
        </a:buClr>
        <a:buFont typeface="Wingdings" pitchFamily="2" charset="2"/>
        <a:buChar char="§"/>
        <a:defRPr sz="1300" kern="1200" spc="100" baseline="0">
          <a:solidFill>
            <a:schemeClr val="tx2"/>
          </a:solidFill>
          <a:latin typeface="Arial"/>
          <a:ea typeface="+mn-ea"/>
          <a:cs typeface="Arial"/>
        </a:defRPr>
      </a:lvl5pPr>
      <a:lvl6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4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53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3" Type="http://schemas.openxmlformats.org/officeDocument/2006/relationships/image" Target="../media/image69.png"/><Relationship Id="rId7" Type="http://schemas.openxmlformats.org/officeDocument/2006/relationships/image" Target="../media/image71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.xml"/><Relationship Id="rId6" Type="http://schemas.microsoft.com/office/2007/relationships/hdphoto" Target="../media/hdphoto5.wdp"/><Relationship Id="rId5" Type="http://schemas.openxmlformats.org/officeDocument/2006/relationships/image" Target="../media/image70.png"/><Relationship Id="rId4" Type="http://schemas.microsoft.com/office/2007/relationships/hdphoto" Target="../media/hdphoto4.wdp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microsoft.com/office/2007/relationships/hdphoto" Target="../media/hdphoto7.wdp"/><Relationship Id="rId7" Type="http://schemas.openxmlformats.org/officeDocument/2006/relationships/image" Target="../media/image75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Relationship Id="rId6" Type="http://schemas.microsoft.com/office/2007/relationships/hdphoto" Target="../media/hdphoto8.wdp"/><Relationship Id="rId5" Type="http://schemas.openxmlformats.org/officeDocument/2006/relationships/image" Target="../media/image74.png"/><Relationship Id="rId4" Type="http://schemas.openxmlformats.org/officeDocument/2006/relationships/image" Target="../media/image73.png"/><Relationship Id="rId9" Type="http://schemas.microsoft.com/office/2007/relationships/hdphoto" Target="../media/hdphoto9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microsoft.com/office/2007/relationships/hdphoto" Target="../media/hdphoto10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png"/><Relationship Id="rId4" Type="http://schemas.openxmlformats.org/officeDocument/2006/relationships/image" Target="../media/image8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emf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fr-FR" sz="1400" dirty="0">
                <a:solidFill>
                  <a:prstClr val="white"/>
                </a:solidFill>
              </a:rPr>
              <a:t>e-Baltic</a:t>
            </a:r>
            <a:br>
              <a:rPr lang="fr-FR" sz="1400" dirty="0">
                <a:solidFill>
                  <a:prstClr val="white"/>
                </a:solidFill>
              </a:rPr>
            </a:br>
            <a:br>
              <a:rPr lang="fr-FR" sz="1400" dirty="0">
                <a:solidFill>
                  <a:prstClr val="white"/>
                </a:solidFill>
              </a:rPr>
            </a:br>
            <a:br>
              <a:rPr lang="fr-FR" sz="1400" dirty="0">
                <a:solidFill>
                  <a:prstClr val="white"/>
                </a:solidFill>
              </a:rPr>
            </a:br>
            <a:br>
              <a:rPr lang="fr-FR" sz="1400" dirty="0">
                <a:solidFill>
                  <a:prstClr val="white"/>
                </a:solidFill>
              </a:rPr>
            </a:br>
            <a:br>
              <a:rPr lang="fr-FR" sz="1400" dirty="0">
                <a:solidFill>
                  <a:prstClr val="white"/>
                </a:solidFill>
              </a:rPr>
            </a:br>
            <a:r>
              <a:rPr lang="fr-FR" sz="2800" b="1" dirty="0"/>
              <a:t>RECOVERY MODULE</a:t>
            </a:r>
            <a:br>
              <a:rPr lang="fr-FR" sz="2800" b="1" dirty="0"/>
            </a:br>
            <a:r>
              <a:rPr lang="fr-FR" sz="2800" b="1" spc="300" dirty="0"/>
              <a:t>INSTALLATION PROCESS</a:t>
            </a:r>
            <a:br>
              <a:rPr lang="fr-FR" sz="2800" b="1" spc="300" dirty="0"/>
            </a:br>
            <a:br>
              <a:rPr lang="fr-FR" sz="1050" b="1" spc="300" dirty="0"/>
            </a:br>
            <a:r>
              <a:rPr lang="fr-FR" sz="2000" b="1" spc="3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TE HEAT EXCHANGER</a:t>
            </a:r>
            <a:endParaRPr lang="fr-FR" sz="1400" b="1" spc="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2958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0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7" name="Imagem 6" descr="Imagem de jogo de vídeo game&#10;&#10;Descrição gerada automaticamente com confiança baixa">
            <a:extLst>
              <a:ext uri="{FF2B5EF4-FFF2-40B4-BE49-F238E27FC236}">
                <a16:creationId xmlns:a16="http://schemas.microsoft.com/office/drawing/2014/main" id="{1EC5D274-5820-4BC6-2340-E2B04E095AA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1654616"/>
            <a:ext cx="4691462" cy="2757408"/>
          </a:xfrm>
          <a:prstGeom prst="rect">
            <a:avLst/>
          </a:prstGeom>
        </p:spPr>
      </p:pic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A3F7AADF-455F-A207-E844-4736B0B5480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58064" y="1654616"/>
            <a:ext cx="4685936" cy="2757408"/>
          </a:xfrm>
          <a:prstGeom prst="rect">
            <a:avLst/>
          </a:prstGeom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254391" y="816797"/>
            <a:ext cx="41057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Install the </a:t>
            </a:r>
            <a:r>
              <a:rPr lang="en-US" sz="1400" dirty="0">
                <a:solidFill>
                  <a:srgbClr val="B50130"/>
                </a:solidFill>
              </a:rPr>
              <a:t>Foa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on the upper part of the Flow-curb.</a:t>
            </a:r>
            <a:endParaRPr lang="en-US" sz="1400" strike="sngStrike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Seta: para a Direita 11">
            <a:extLst>
              <a:ext uri="{FF2B5EF4-FFF2-40B4-BE49-F238E27FC236}">
                <a16:creationId xmlns:a16="http://schemas.microsoft.com/office/drawing/2014/main" id="{DBF630F0-C496-9643-472F-6CB8A11B3DB0}"/>
              </a:ext>
            </a:extLst>
          </p:cNvPr>
          <p:cNvSpPr/>
          <p:nvPr/>
        </p:nvSpPr>
        <p:spPr>
          <a:xfrm>
            <a:off x="4073135" y="3205389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9105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Uma imagem contendo circuito, computador&#10;&#10;Descrição gerada automaticamente">
            <a:extLst>
              <a:ext uri="{FF2B5EF4-FFF2-40B4-BE49-F238E27FC236}">
                <a16:creationId xmlns:a16="http://schemas.microsoft.com/office/drawing/2014/main" id="{43566F74-55B5-8930-0B10-DBF12257F1C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b="2901"/>
          <a:stretch/>
        </p:blipFill>
        <p:spPr>
          <a:xfrm>
            <a:off x="-67235" y="597095"/>
            <a:ext cx="6839054" cy="452502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ROOFTOP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1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5547360" y="1210915"/>
            <a:ext cx="29283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On the Rooftop, </a:t>
            </a:r>
            <a:r>
              <a:rPr lang="en-US" sz="1400" dirty="0">
                <a:solidFill>
                  <a:srgbClr val="B50130"/>
                </a:solidFill>
              </a:rPr>
              <a:t>remove the forklift protection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before lifting it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DBA9C3DD-F928-DC88-F7D6-0A312A54916C}"/>
              </a:ext>
            </a:extLst>
          </p:cNvPr>
          <p:cNvGrpSpPr/>
          <p:nvPr/>
        </p:nvGrpSpPr>
        <p:grpSpPr>
          <a:xfrm>
            <a:off x="5650361" y="2097516"/>
            <a:ext cx="2722392" cy="1156704"/>
            <a:chOff x="132080" y="2346871"/>
            <a:chExt cx="2722392" cy="1156704"/>
          </a:xfrm>
        </p:grpSpPr>
        <p:sp>
          <p:nvSpPr>
            <p:cNvPr id="12" name="Retângulo 11">
              <a:extLst>
                <a:ext uri="{FF2B5EF4-FFF2-40B4-BE49-F238E27FC236}">
                  <a16:creationId xmlns:a16="http://schemas.microsoft.com/office/drawing/2014/main" id="{A6CD3E75-7CAC-8E42-DBE9-FC160595E1CE}"/>
                </a:ext>
              </a:extLst>
            </p:cNvPr>
            <p:cNvSpPr/>
            <p:nvPr/>
          </p:nvSpPr>
          <p:spPr>
            <a:xfrm>
              <a:off x="132080" y="2346871"/>
              <a:ext cx="2722392" cy="115670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13" name="Agrupar 12">
              <a:extLst>
                <a:ext uri="{FF2B5EF4-FFF2-40B4-BE49-F238E27FC236}">
                  <a16:creationId xmlns:a16="http://schemas.microsoft.com/office/drawing/2014/main" id="{C7880AEE-7BCE-FF2A-4560-2BD6733CDD6E}"/>
                </a:ext>
              </a:extLst>
            </p:cNvPr>
            <p:cNvGrpSpPr/>
            <p:nvPr/>
          </p:nvGrpSpPr>
          <p:grpSpPr>
            <a:xfrm>
              <a:off x="250916" y="2448170"/>
              <a:ext cx="2484720" cy="954107"/>
              <a:chOff x="278800" y="2448170"/>
              <a:chExt cx="2484720" cy="954107"/>
            </a:xfrm>
          </p:grpSpPr>
          <p:pic>
            <p:nvPicPr>
              <p:cNvPr id="9" name="Gráfico 8" descr="Aviso com preenchimento sólido">
                <a:extLst>
                  <a:ext uri="{FF2B5EF4-FFF2-40B4-BE49-F238E27FC236}">
                    <a16:creationId xmlns:a16="http://schemas.microsoft.com/office/drawing/2014/main" id="{D626D36A-B01D-01CB-DD28-F6C1C0F949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278800" y="2618494"/>
                <a:ext cx="613458" cy="613458"/>
              </a:xfrm>
              <a:prstGeom prst="rect">
                <a:avLst/>
              </a:prstGeom>
            </p:spPr>
          </p:pic>
          <p:sp>
            <p:nvSpPr>
              <p:cNvPr id="11" name="CaixaDeTexto 10">
                <a:extLst>
                  <a:ext uri="{FF2B5EF4-FFF2-40B4-BE49-F238E27FC236}">
                    <a16:creationId xmlns:a16="http://schemas.microsoft.com/office/drawing/2014/main" id="{BF262CAA-7485-681A-B0A9-C81D4D301478}"/>
                  </a:ext>
                </a:extLst>
              </p:cNvPr>
              <p:cNvSpPr txBox="1"/>
              <p:nvPr/>
            </p:nvSpPr>
            <p:spPr>
              <a:xfrm>
                <a:off x="892258" y="2448170"/>
                <a:ext cx="1871262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</a:rPr>
                  <a:t>The Rooftop </a:t>
                </a:r>
                <a:r>
                  <a:rPr lang="en-US" sz="1400" dirty="0">
                    <a:solidFill>
                      <a:srgbClr val="B50130"/>
                    </a:solidFill>
                  </a:rPr>
                  <a:t>cannot be installed</a:t>
                </a:r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</a:rPr>
                  <a:t> above the Flow Curb with the forklift protections.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622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esenho técnico&#10;&#10;Descrição gerada automaticamente">
            <a:extLst>
              <a:ext uri="{FF2B5EF4-FFF2-40B4-BE49-F238E27FC236}">
                <a16:creationId xmlns:a16="http://schemas.microsoft.com/office/drawing/2014/main" id="{6132942A-093B-2C5E-575B-8F31527F25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20600"/>
          <a:stretch/>
        </p:blipFill>
        <p:spPr>
          <a:xfrm>
            <a:off x="5952551" y="632734"/>
            <a:ext cx="3191449" cy="4339316"/>
          </a:xfrm>
          <a:prstGeom prst="rect">
            <a:avLst/>
          </a:prstGeom>
        </p:spPr>
      </p:pic>
      <p:pic>
        <p:nvPicPr>
          <p:cNvPr id="12" name="Imagem 11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7469356-9208-3A4A-3B1C-74A7E5B6483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20599"/>
          <a:stretch/>
        </p:blipFill>
        <p:spPr>
          <a:xfrm>
            <a:off x="0" y="632734"/>
            <a:ext cx="3170589" cy="4339316"/>
          </a:xfrm>
          <a:prstGeom prst="rect">
            <a:avLst/>
          </a:prstGeom>
        </p:spPr>
      </p:pic>
      <p:pic>
        <p:nvPicPr>
          <p:cNvPr id="17" name="Imagem 16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0909D531-05B6-29F0-CAD0-2C35F03848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20600"/>
          <a:stretch/>
        </p:blipFill>
        <p:spPr>
          <a:xfrm>
            <a:off x="2976276" y="632734"/>
            <a:ext cx="3170589" cy="433931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ROOFTOP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2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6193225" y="1196449"/>
            <a:ext cx="193236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Lift the Rooftop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and carefully install it above the Flow Curb.</a:t>
            </a:r>
          </a:p>
        </p:txBody>
      </p:sp>
      <p:sp>
        <p:nvSpPr>
          <p:cNvPr id="14" name="Seta: para a Direita 13">
            <a:extLst>
              <a:ext uri="{FF2B5EF4-FFF2-40B4-BE49-F238E27FC236}">
                <a16:creationId xmlns:a16="http://schemas.microsoft.com/office/drawing/2014/main" id="{9EA6C7FF-6B4B-5636-B4A1-B91FA7799DF8}"/>
              </a:ext>
            </a:extLst>
          </p:cNvPr>
          <p:cNvSpPr/>
          <p:nvPr/>
        </p:nvSpPr>
        <p:spPr>
          <a:xfrm>
            <a:off x="2807996" y="3766705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8193DB9C-CB95-F041-03C9-D819128AAE04}"/>
              </a:ext>
            </a:extLst>
          </p:cNvPr>
          <p:cNvSpPr/>
          <p:nvPr/>
        </p:nvSpPr>
        <p:spPr>
          <a:xfrm>
            <a:off x="5906192" y="3766705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211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m 30" descr="Diagrama, Desenho técnico&#10;&#10;Descrição gerada automaticamente">
            <a:extLst>
              <a:ext uri="{FF2B5EF4-FFF2-40B4-BE49-F238E27FC236}">
                <a16:creationId xmlns:a16="http://schemas.microsoft.com/office/drawing/2014/main" id="{26FDA964-8EFD-B1B1-8105-5E3E1016470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45507" y="787783"/>
            <a:ext cx="2109786" cy="1753638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2" name="Imagem 11" descr="Diagrama, Desenho técnico&#10;&#10;Descrição gerada automaticamente">
            <a:extLst>
              <a:ext uri="{FF2B5EF4-FFF2-40B4-BE49-F238E27FC236}">
                <a16:creationId xmlns:a16="http://schemas.microsoft.com/office/drawing/2014/main" id="{0658A777-34AA-38AD-8C69-538A1A58D5C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142203" y="1788417"/>
            <a:ext cx="3646224" cy="2968686"/>
          </a:xfrm>
          <a:prstGeom prst="rect">
            <a:avLst/>
          </a:prstGeom>
        </p:spPr>
      </p:pic>
      <p:sp>
        <p:nvSpPr>
          <p:cNvPr id="26" name="Elipse 25">
            <a:extLst>
              <a:ext uri="{FF2B5EF4-FFF2-40B4-BE49-F238E27FC236}">
                <a16:creationId xmlns:a16="http://schemas.microsoft.com/office/drawing/2014/main" id="{E2F8905C-EBB6-AC39-DAC3-9AFF833EC26A}"/>
              </a:ext>
            </a:extLst>
          </p:cNvPr>
          <p:cNvSpPr/>
          <p:nvPr/>
        </p:nvSpPr>
        <p:spPr>
          <a:xfrm>
            <a:off x="1306169" y="3320415"/>
            <a:ext cx="393000" cy="39300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ROOFTOP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3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1" name="Seta: para a Direita 20">
            <a:extLst>
              <a:ext uri="{FF2B5EF4-FFF2-40B4-BE49-F238E27FC236}">
                <a16:creationId xmlns:a16="http://schemas.microsoft.com/office/drawing/2014/main" id="{3D3A57E1-A264-CC96-4287-A1403AE6C75A}"/>
              </a:ext>
            </a:extLst>
          </p:cNvPr>
          <p:cNvSpPr/>
          <p:nvPr/>
        </p:nvSpPr>
        <p:spPr>
          <a:xfrm>
            <a:off x="6040539" y="3408233"/>
            <a:ext cx="179354" cy="54587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999A613-37C4-18EB-F0FB-C8F83C4CB626}"/>
              </a:ext>
            </a:extLst>
          </p:cNvPr>
          <p:cNvSpPr txBox="1"/>
          <p:nvPr/>
        </p:nvSpPr>
        <p:spPr>
          <a:xfrm>
            <a:off x="260228" y="852506"/>
            <a:ext cx="397649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In case of </a:t>
            </a:r>
            <a:r>
              <a:rPr lang="en-US" sz="1400" dirty="0">
                <a:solidFill>
                  <a:srgbClr val="B50130"/>
                </a:solidFill>
              </a:rPr>
              <a:t>C-Box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the </a:t>
            </a:r>
            <a:r>
              <a:rPr lang="en-US" sz="1400" dirty="0">
                <a:solidFill>
                  <a:srgbClr val="B50130"/>
                </a:solidFill>
              </a:rPr>
              <a:t>Lower Plate Set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ust be installed on the Rooftop base frame with 2 bolts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Lower Plate Set is factory fitted with rivets, except on C-Box.</a:t>
            </a:r>
          </a:p>
        </p:txBody>
      </p:sp>
      <p:sp>
        <p:nvSpPr>
          <p:cNvPr id="25" name="Triângulo isósceles 9">
            <a:extLst>
              <a:ext uri="{FF2B5EF4-FFF2-40B4-BE49-F238E27FC236}">
                <a16:creationId xmlns:a16="http://schemas.microsoft.com/office/drawing/2014/main" id="{5D61399C-E47A-30DA-6758-3AFD38BCC596}"/>
              </a:ext>
            </a:extLst>
          </p:cNvPr>
          <p:cNvSpPr/>
          <p:nvPr/>
        </p:nvSpPr>
        <p:spPr>
          <a:xfrm rot="10800000" flipH="1">
            <a:off x="1557096" y="2819468"/>
            <a:ext cx="2275764" cy="1752328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0663693 w 13209036"/>
              <a:gd name="connsiteY0" fmla="*/ 3369578 h 3370498"/>
              <a:gd name="connsiteX1" fmla="*/ 0 w 13209036"/>
              <a:gd name="connsiteY1" fmla="*/ 0 h 3370498"/>
              <a:gd name="connsiteX2" fmla="*/ 13201337 w 13209036"/>
              <a:gd name="connsiteY2" fmla="*/ 966988 h 3370498"/>
              <a:gd name="connsiteX3" fmla="*/ 10663693 w 13209036"/>
              <a:gd name="connsiteY3" fmla="*/ 3369578 h 3370498"/>
              <a:gd name="connsiteX0" fmla="*/ 10663693 w 13209036"/>
              <a:gd name="connsiteY0" fmla="*/ 3369578 h 3369578"/>
              <a:gd name="connsiteX1" fmla="*/ 0 w 13209036"/>
              <a:gd name="connsiteY1" fmla="*/ 0 h 3369578"/>
              <a:gd name="connsiteX2" fmla="*/ 13201337 w 13209036"/>
              <a:gd name="connsiteY2" fmla="*/ 966988 h 3369578"/>
              <a:gd name="connsiteX3" fmla="*/ 10663693 w 13209036"/>
              <a:gd name="connsiteY3" fmla="*/ 3369578 h 33695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516144 w 13061487"/>
              <a:gd name="connsiteY0" fmla="*/ 3520279 h 3520279"/>
              <a:gd name="connsiteX1" fmla="*/ 0 w 13061487"/>
              <a:gd name="connsiteY1" fmla="*/ 60333 h 3520279"/>
              <a:gd name="connsiteX2" fmla="*/ 13053788 w 13061487"/>
              <a:gd name="connsiteY2" fmla="*/ 1117689 h 3520279"/>
              <a:gd name="connsiteX3" fmla="*/ 10516144 w 13061487"/>
              <a:gd name="connsiteY3" fmla="*/ 3520279 h 3520279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4078965"/>
              <a:gd name="connsiteY0" fmla="*/ 3562401 h 3562401"/>
              <a:gd name="connsiteX1" fmla="*/ 0 w 14078965"/>
              <a:gd name="connsiteY1" fmla="*/ 102455 h 3562401"/>
              <a:gd name="connsiteX2" fmla="*/ 14073220 w 14078965"/>
              <a:gd name="connsiteY2" fmla="*/ 1116779 h 3562401"/>
              <a:gd name="connsiteX3" fmla="*/ 10516144 w 14078965"/>
              <a:gd name="connsiteY3" fmla="*/ 3562401 h 3562401"/>
              <a:gd name="connsiteX0" fmla="*/ 10516144 w 14367390"/>
              <a:gd name="connsiteY0" fmla="*/ 3542215 h 3542215"/>
              <a:gd name="connsiteX1" fmla="*/ 0 w 14367390"/>
              <a:gd name="connsiteY1" fmla="*/ 82269 h 3542215"/>
              <a:gd name="connsiteX2" fmla="*/ 14362028 w 14367390"/>
              <a:gd name="connsiteY2" fmla="*/ 1206376 h 3542215"/>
              <a:gd name="connsiteX3" fmla="*/ 10516144 w 14367390"/>
              <a:gd name="connsiteY3" fmla="*/ 3542215 h 3542215"/>
              <a:gd name="connsiteX0" fmla="*/ 10516144 w 10516143"/>
              <a:gd name="connsiteY0" fmla="*/ 5435262 h 5435262"/>
              <a:gd name="connsiteX1" fmla="*/ 0 w 10516143"/>
              <a:gd name="connsiteY1" fmla="*/ 1975316 h 5435262"/>
              <a:gd name="connsiteX2" fmla="*/ 9369660 w 10516143"/>
              <a:gd name="connsiteY2" fmla="*/ 323841 h 5435262"/>
              <a:gd name="connsiteX3" fmla="*/ 10516144 w 10516143"/>
              <a:gd name="connsiteY3" fmla="*/ 5435262 h 5435262"/>
              <a:gd name="connsiteX0" fmla="*/ 10516144 w 10516143"/>
              <a:gd name="connsiteY0" fmla="*/ 5117282 h 5117282"/>
              <a:gd name="connsiteX1" fmla="*/ 0 w 10516143"/>
              <a:gd name="connsiteY1" fmla="*/ 1657336 h 5117282"/>
              <a:gd name="connsiteX2" fmla="*/ 9369660 w 10516143"/>
              <a:gd name="connsiteY2" fmla="*/ 5861 h 5117282"/>
              <a:gd name="connsiteX3" fmla="*/ 10516144 w 10516143"/>
              <a:gd name="connsiteY3" fmla="*/ 5117282 h 5117282"/>
              <a:gd name="connsiteX0" fmla="*/ 10516144 w 10516143"/>
              <a:gd name="connsiteY0" fmla="*/ 5271695 h 5271695"/>
              <a:gd name="connsiteX1" fmla="*/ 0 w 10516143"/>
              <a:gd name="connsiteY1" fmla="*/ 1811749 h 5271695"/>
              <a:gd name="connsiteX2" fmla="*/ 8690426 w 10516143"/>
              <a:gd name="connsiteY2" fmla="*/ 5357 h 5271695"/>
              <a:gd name="connsiteX3" fmla="*/ 10516144 w 10516143"/>
              <a:gd name="connsiteY3" fmla="*/ 5271695 h 5271695"/>
              <a:gd name="connsiteX0" fmla="*/ 9531254 w 9531254"/>
              <a:gd name="connsiteY0" fmla="*/ 2728488 h 2728488"/>
              <a:gd name="connsiteX1" fmla="*/ 0 w 9531254"/>
              <a:gd name="connsiteY1" fmla="*/ 1811749 h 2728488"/>
              <a:gd name="connsiteX2" fmla="*/ 8690426 w 9531254"/>
              <a:gd name="connsiteY2" fmla="*/ 5357 h 2728488"/>
              <a:gd name="connsiteX3" fmla="*/ 9531254 w 9531254"/>
              <a:gd name="connsiteY3" fmla="*/ 2728488 h 2728488"/>
              <a:gd name="connsiteX0" fmla="*/ 9531254 w 9531254"/>
              <a:gd name="connsiteY0" fmla="*/ 2728488 h 2790471"/>
              <a:gd name="connsiteX1" fmla="*/ 0 w 9531254"/>
              <a:gd name="connsiteY1" fmla="*/ 1811749 h 2790471"/>
              <a:gd name="connsiteX2" fmla="*/ 8690426 w 9531254"/>
              <a:gd name="connsiteY2" fmla="*/ 5357 h 2790471"/>
              <a:gd name="connsiteX3" fmla="*/ 9531254 w 9531254"/>
              <a:gd name="connsiteY3" fmla="*/ 2728488 h 2790471"/>
              <a:gd name="connsiteX0" fmla="*/ 9531254 w 9531254"/>
              <a:gd name="connsiteY0" fmla="*/ 2723131 h 2785116"/>
              <a:gd name="connsiteX1" fmla="*/ 0 w 9531254"/>
              <a:gd name="connsiteY1" fmla="*/ 1806392 h 2785116"/>
              <a:gd name="connsiteX2" fmla="*/ 8690426 w 9531254"/>
              <a:gd name="connsiteY2" fmla="*/ 0 h 2785116"/>
              <a:gd name="connsiteX3" fmla="*/ 9531254 w 9531254"/>
              <a:gd name="connsiteY3" fmla="*/ 2723131 h 2785116"/>
              <a:gd name="connsiteX0" fmla="*/ 9531254 w 9531254"/>
              <a:gd name="connsiteY0" fmla="*/ 2723131 h 2810751"/>
              <a:gd name="connsiteX1" fmla="*/ 0 w 9531254"/>
              <a:gd name="connsiteY1" fmla="*/ 1806392 h 2810751"/>
              <a:gd name="connsiteX2" fmla="*/ 8690426 w 9531254"/>
              <a:gd name="connsiteY2" fmla="*/ 0 h 2810751"/>
              <a:gd name="connsiteX3" fmla="*/ 9531254 w 9531254"/>
              <a:gd name="connsiteY3" fmla="*/ 2723131 h 2810751"/>
              <a:gd name="connsiteX0" fmla="*/ 9531254 w 9531254"/>
              <a:gd name="connsiteY0" fmla="*/ 2723131 h 2810749"/>
              <a:gd name="connsiteX1" fmla="*/ 0 w 9531254"/>
              <a:gd name="connsiteY1" fmla="*/ 1806392 h 2810749"/>
              <a:gd name="connsiteX2" fmla="*/ 8690426 w 9531254"/>
              <a:gd name="connsiteY2" fmla="*/ 0 h 2810749"/>
              <a:gd name="connsiteX3" fmla="*/ 9531254 w 9531254"/>
              <a:gd name="connsiteY3" fmla="*/ 2723131 h 2810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1254" h="2810749">
                <a:moveTo>
                  <a:pt x="9531254" y="2723131"/>
                </a:moveTo>
                <a:cubicBezTo>
                  <a:pt x="7131384" y="3049934"/>
                  <a:pt x="2220092" y="2399870"/>
                  <a:pt x="0" y="1806392"/>
                </a:cubicBezTo>
                <a:cubicBezTo>
                  <a:pt x="2083558" y="1671778"/>
                  <a:pt x="7201393" y="1048528"/>
                  <a:pt x="8690426" y="0"/>
                </a:cubicBezTo>
                <a:cubicBezTo>
                  <a:pt x="8866030" y="901956"/>
                  <a:pt x="9355650" y="1821175"/>
                  <a:pt x="9531254" y="2723131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DD55B423-D9D4-D1EB-5B9D-42CB40055992}"/>
              </a:ext>
            </a:extLst>
          </p:cNvPr>
          <p:cNvSpPr txBox="1"/>
          <p:nvPr/>
        </p:nvSpPr>
        <p:spPr>
          <a:xfrm>
            <a:off x="4545507" y="775124"/>
            <a:ext cx="9502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dirty="0">
                <a:solidFill>
                  <a:srgbClr val="B50130"/>
                </a:solidFill>
              </a:rPr>
              <a:t>Lower Plate Set</a:t>
            </a:r>
            <a:endParaRPr lang="en-GB" sz="1100" dirty="0">
              <a:solidFill>
                <a:srgbClr val="B50130"/>
              </a:solidFill>
            </a:endParaRPr>
          </a:p>
        </p:txBody>
      </p:sp>
      <p:pic>
        <p:nvPicPr>
          <p:cNvPr id="33" name="Imagem 32" descr="Interface gráfica do usuário, Diagrama&#10;&#10;Descrição gerada automaticamente">
            <a:extLst>
              <a:ext uri="{FF2B5EF4-FFF2-40B4-BE49-F238E27FC236}">
                <a16:creationId xmlns:a16="http://schemas.microsoft.com/office/drawing/2014/main" id="{7340917F-C1BD-BB71-BE83-20712B98C8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591" r="14429"/>
          <a:stretch/>
        </p:blipFill>
        <p:spPr>
          <a:xfrm>
            <a:off x="3476956" y="2706629"/>
            <a:ext cx="2406973" cy="1949078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35" name="Imagem 34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C56BFA65-574A-B8CC-D1BE-FA824726D82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73" r="14562"/>
          <a:stretch/>
        </p:blipFill>
        <p:spPr>
          <a:xfrm>
            <a:off x="6376504" y="2706629"/>
            <a:ext cx="2406973" cy="1949078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37" name="CaixaDeTexto 36">
            <a:extLst>
              <a:ext uri="{FF2B5EF4-FFF2-40B4-BE49-F238E27FC236}">
                <a16:creationId xmlns:a16="http://schemas.microsoft.com/office/drawing/2014/main" id="{E40A58D9-227A-2382-008B-4170E9472EC2}"/>
              </a:ext>
            </a:extLst>
          </p:cNvPr>
          <p:cNvSpPr txBox="1"/>
          <p:nvPr/>
        </p:nvSpPr>
        <p:spPr>
          <a:xfrm>
            <a:off x="6708773" y="1187549"/>
            <a:ext cx="20747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remove the bolt, washer and nut from the set before installing it.</a:t>
            </a:r>
          </a:p>
        </p:txBody>
      </p:sp>
    </p:spTree>
    <p:extLst>
      <p:ext uri="{BB962C8B-B14F-4D97-AF65-F5344CB8AC3E}">
        <p14:creationId xmlns:p14="http://schemas.microsoft.com/office/powerpoint/2010/main" val="2686710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aixaDeTexto 20">
            <a:extLst>
              <a:ext uri="{FF2B5EF4-FFF2-40B4-BE49-F238E27FC236}">
                <a16:creationId xmlns:a16="http://schemas.microsoft.com/office/drawing/2014/main" id="{ED36BE18-C60F-5315-C421-80F1C815EA53}"/>
              </a:ext>
            </a:extLst>
          </p:cNvPr>
          <p:cNvSpPr txBox="1"/>
          <p:nvPr/>
        </p:nvSpPr>
        <p:spPr>
          <a:xfrm>
            <a:off x="5659201" y="3305417"/>
            <a:ext cx="2728799" cy="830997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 marL="1527175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T-Plate</a:t>
            </a:r>
          </a:p>
          <a:p>
            <a:pPr marL="1527175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U-Plate</a:t>
            </a:r>
          </a:p>
          <a:p>
            <a:pPr marL="1527175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Bolt 10x70mm</a:t>
            </a:r>
          </a:p>
          <a:p>
            <a:pPr marL="1527175" indent="-2857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</a:rPr>
              <a:t>Nut</a:t>
            </a:r>
          </a:p>
        </p:txBody>
      </p:sp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C4921C4C-3E75-4B46-7A6E-7104EBFFD6A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60823" y="1719325"/>
            <a:ext cx="3822595" cy="32605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ROOFTOP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4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799348" y="936181"/>
            <a:ext cx="210225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Remove the </a:t>
            </a:r>
            <a:r>
              <a:rPr lang="en-US" sz="1400" dirty="0">
                <a:solidFill>
                  <a:srgbClr val="B50130"/>
                </a:solidFill>
              </a:rPr>
              <a:t>T-Plate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dirty="0">
                <a:solidFill>
                  <a:srgbClr val="B50130"/>
                </a:solidFill>
              </a:rPr>
              <a:t>Set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from the Rooftop by cutting the clamp.</a:t>
            </a:r>
          </a:p>
        </p:txBody>
      </p:sp>
      <p:pic>
        <p:nvPicPr>
          <p:cNvPr id="8" name="Imagem 7" descr="Uma imagem contendo Ícone&#10;&#10;Descrição gerada automaticamente">
            <a:extLst>
              <a:ext uri="{FF2B5EF4-FFF2-40B4-BE49-F238E27FC236}">
                <a16:creationId xmlns:a16="http://schemas.microsoft.com/office/drawing/2014/main" id="{C793DD73-9D74-17A7-71FB-FBC5BEEE7D9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53219" y="2764810"/>
            <a:ext cx="2359581" cy="2185813"/>
          </a:xfrm>
          <a:prstGeom prst="rect">
            <a:avLst/>
          </a:prstGeom>
        </p:spPr>
      </p:pic>
      <p:sp>
        <p:nvSpPr>
          <p:cNvPr id="19" name="Elipse 18">
            <a:extLst>
              <a:ext uri="{FF2B5EF4-FFF2-40B4-BE49-F238E27FC236}">
                <a16:creationId xmlns:a16="http://schemas.microsoft.com/office/drawing/2014/main" id="{A56C099F-6819-4CFB-1D5C-5F8B59DEAEA1}"/>
              </a:ext>
            </a:extLst>
          </p:cNvPr>
          <p:cNvSpPr/>
          <p:nvPr/>
        </p:nvSpPr>
        <p:spPr>
          <a:xfrm>
            <a:off x="2400569" y="2900228"/>
            <a:ext cx="393000" cy="39300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Triângulo isósceles 9">
            <a:extLst>
              <a:ext uri="{FF2B5EF4-FFF2-40B4-BE49-F238E27FC236}">
                <a16:creationId xmlns:a16="http://schemas.microsoft.com/office/drawing/2014/main" id="{7C4BFC45-66FC-AA05-425C-484B6CE807A8}"/>
              </a:ext>
            </a:extLst>
          </p:cNvPr>
          <p:cNvSpPr/>
          <p:nvPr/>
        </p:nvSpPr>
        <p:spPr>
          <a:xfrm rot="10800000" flipH="1">
            <a:off x="2651495" y="1021530"/>
            <a:ext cx="3475251" cy="2136130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0663693 w 13209036"/>
              <a:gd name="connsiteY0" fmla="*/ 3369578 h 3370498"/>
              <a:gd name="connsiteX1" fmla="*/ 0 w 13209036"/>
              <a:gd name="connsiteY1" fmla="*/ 0 h 3370498"/>
              <a:gd name="connsiteX2" fmla="*/ 13201337 w 13209036"/>
              <a:gd name="connsiteY2" fmla="*/ 966988 h 3370498"/>
              <a:gd name="connsiteX3" fmla="*/ 10663693 w 13209036"/>
              <a:gd name="connsiteY3" fmla="*/ 3369578 h 3370498"/>
              <a:gd name="connsiteX0" fmla="*/ 10663693 w 13209036"/>
              <a:gd name="connsiteY0" fmla="*/ 3369578 h 3369578"/>
              <a:gd name="connsiteX1" fmla="*/ 0 w 13209036"/>
              <a:gd name="connsiteY1" fmla="*/ 0 h 3369578"/>
              <a:gd name="connsiteX2" fmla="*/ 13201337 w 13209036"/>
              <a:gd name="connsiteY2" fmla="*/ 966988 h 3369578"/>
              <a:gd name="connsiteX3" fmla="*/ 10663693 w 13209036"/>
              <a:gd name="connsiteY3" fmla="*/ 3369578 h 33695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516144 w 13061487"/>
              <a:gd name="connsiteY0" fmla="*/ 3520279 h 3520279"/>
              <a:gd name="connsiteX1" fmla="*/ 0 w 13061487"/>
              <a:gd name="connsiteY1" fmla="*/ 60333 h 3520279"/>
              <a:gd name="connsiteX2" fmla="*/ 13053788 w 13061487"/>
              <a:gd name="connsiteY2" fmla="*/ 1117689 h 3520279"/>
              <a:gd name="connsiteX3" fmla="*/ 10516144 w 13061487"/>
              <a:gd name="connsiteY3" fmla="*/ 3520279 h 3520279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4078965"/>
              <a:gd name="connsiteY0" fmla="*/ 3562401 h 3562401"/>
              <a:gd name="connsiteX1" fmla="*/ 0 w 14078965"/>
              <a:gd name="connsiteY1" fmla="*/ 102455 h 3562401"/>
              <a:gd name="connsiteX2" fmla="*/ 14073220 w 14078965"/>
              <a:gd name="connsiteY2" fmla="*/ 1116779 h 3562401"/>
              <a:gd name="connsiteX3" fmla="*/ 10516144 w 14078965"/>
              <a:gd name="connsiteY3" fmla="*/ 3562401 h 3562401"/>
              <a:gd name="connsiteX0" fmla="*/ 9745988 w 14078042"/>
              <a:gd name="connsiteY0" fmla="*/ 3598997 h 3598997"/>
              <a:gd name="connsiteX1" fmla="*/ 0 w 14078042"/>
              <a:gd name="connsiteY1" fmla="*/ 102457 h 3598997"/>
              <a:gd name="connsiteX2" fmla="*/ 14073220 w 14078042"/>
              <a:gd name="connsiteY2" fmla="*/ 1116781 h 3598997"/>
              <a:gd name="connsiteX3" fmla="*/ 9745988 w 14078042"/>
              <a:gd name="connsiteY3" fmla="*/ 3598997 h 3598997"/>
              <a:gd name="connsiteX0" fmla="*/ 9745988 w 15488896"/>
              <a:gd name="connsiteY0" fmla="*/ 3618997 h 3618997"/>
              <a:gd name="connsiteX1" fmla="*/ 0 w 15488896"/>
              <a:gd name="connsiteY1" fmla="*/ 122457 h 3618997"/>
              <a:gd name="connsiteX2" fmla="*/ 15485170 w 15488896"/>
              <a:gd name="connsiteY2" fmla="*/ 1051394 h 3618997"/>
              <a:gd name="connsiteX3" fmla="*/ 9745988 w 15488896"/>
              <a:gd name="connsiteY3" fmla="*/ 3618997 h 3618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488896" h="3618997">
                <a:moveTo>
                  <a:pt x="9745988" y="3618997"/>
                </a:moveTo>
                <a:cubicBezTo>
                  <a:pt x="8772510" y="2822658"/>
                  <a:pt x="3782329" y="302825"/>
                  <a:pt x="0" y="122457"/>
                </a:cubicBezTo>
                <a:cubicBezTo>
                  <a:pt x="1879787" y="-76706"/>
                  <a:pt x="9988658" y="-185090"/>
                  <a:pt x="15485170" y="1051394"/>
                </a:cubicBezTo>
                <a:cubicBezTo>
                  <a:pt x="15660774" y="1953350"/>
                  <a:pt x="9570384" y="2717041"/>
                  <a:pt x="9745988" y="3618997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8" name="Imagem 17" descr="Diagrama&#10;&#10;Descrição gerada automaticamente">
            <a:extLst>
              <a:ext uri="{FF2B5EF4-FFF2-40B4-BE49-F238E27FC236}">
                <a16:creationId xmlns:a16="http://schemas.microsoft.com/office/drawing/2014/main" id="{6581F8D6-364E-F7BB-EB08-95899C622C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3218" y="810864"/>
            <a:ext cx="2359582" cy="1863796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3" name="Seta: para a Esquerda 22">
            <a:extLst>
              <a:ext uri="{FF2B5EF4-FFF2-40B4-BE49-F238E27FC236}">
                <a16:creationId xmlns:a16="http://schemas.microsoft.com/office/drawing/2014/main" id="{15037693-556A-FA28-173E-2E271BA7B802}"/>
              </a:ext>
            </a:extLst>
          </p:cNvPr>
          <p:cNvSpPr/>
          <p:nvPr/>
        </p:nvSpPr>
        <p:spPr>
          <a:xfrm rot="1010623">
            <a:off x="6308522" y="1213364"/>
            <a:ext cx="1430155" cy="415498"/>
          </a:xfrm>
          <a:prstGeom prst="leftArrow">
            <a:avLst>
              <a:gd name="adj1" fmla="val 67362"/>
              <a:gd name="adj2" fmla="val 63863"/>
            </a:avLst>
          </a:prstGeom>
          <a:solidFill>
            <a:srgbClr val="B5013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ut the clamp</a:t>
            </a:r>
          </a:p>
        </p:txBody>
      </p:sp>
    </p:spTree>
    <p:extLst>
      <p:ext uri="{BB962C8B-B14F-4D97-AF65-F5344CB8AC3E}">
        <p14:creationId xmlns:p14="http://schemas.microsoft.com/office/powerpoint/2010/main" val="421402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5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254390" y="816797"/>
            <a:ext cx="25802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On the Heat Recovery Module, </a:t>
            </a:r>
            <a:r>
              <a:rPr lang="en-US" sz="1400" dirty="0">
                <a:solidFill>
                  <a:srgbClr val="B50130"/>
                </a:solidFill>
              </a:rPr>
              <a:t>remove the forklift protection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before lifting it.</a:t>
            </a:r>
          </a:p>
        </p:txBody>
      </p:sp>
      <p:pic>
        <p:nvPicPr>
          <p:cNvPr id="11" name="Imagem 10" descr="Desenho técnico&#10;&#10;Descrição gerada automaticamente">
            <a:extLst>
              <a:ext uri="{FF2B5EF4-FFF2-40B4-BE49-F238E27FC236}">
                <a16:creationId xmlns:a16="http://schemas.microsoft.com/office/drawing/2014/main" id="{8BBE0018-C529-4BEB-EB89-CD35445520B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25748" y="636505"/>
            <a:ext cx="5761892" cy="4543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72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F0C027C6-4ED9-A993-6AE5-263C82666C9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51582" y="847278"/>
            <a:ext cx="4440836" cy="422535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6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254390" y="816797"/>
            <a:ext cx="34665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hat the </a:t>
            </a:r>
            <a:r>
              <a:rPr lang="en-US" sz="1400" dirty="0">
                <a:solidFill>
                  <a:srgbClr val="B50130"/>
                </a:solidFill>
              </a:rPr>
              <a:t>Foa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is not damaged</a:t>
            </a:r>
          </a:p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(20x15 mm thick).</a:t>
            </a: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CEB713C4-42F7-59B9-5E51-25694A7F7782}"/>
              </a:ext>
            </a:extLst>
          </p:cNvPr>
          <p:cNvSpPr/>
          <p:nvPr/>
        </p:nvSpPr>
        <p:spPr>
          <a:xfrm rot="14634814">
            <a:off x="3284904" y="3038659"/>
            <a:ext cx="358047" cy="660774"/>
          </a:xfrm>
          <a:prstGeom prst="downArrow">
            <a:avLst/>
          </a:prstGeom>
          <a:solidFill>
            <a:srgbClr val="B5013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984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m 19" descr="Tela de jogo de vídeo game&#10;&#10;Descrição gerada automaticamente com confiança média">
            <a:extLst>
              <a:ext uri="{FF2B5EF4-FFF2-40B4-BE49-F238E27FC236}">
                <a16:creationId xmlns:a16="http://schemas.microsoft.com/office/drawing/2014/main" id="{3AC1DE46-4E3C-4E03-E260-91A981083C8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467" y="2515514"/>
            <a:ext cx="1818422" cy="1644279"/>
          </a:xfrm>
          <a:prstGeom prst="rect">
            <a:avLst/>
          </a:prstGeom>
        </p:spPr>
      </p:pic>
      <p:pic>
        <p:nvPicPr>
          <p:cNvPr id="14" name="Imagem 13" descr="Desenho técnico&#10;&#10;Descrição gerada automaticamente">
            <a:extLst>
              <a:ext uri="{FF2B5EF4-FFF2-40B4-BE49-F238E27FC236}">
                <a16:creationId xmlns:a16="http://schemas.microsoft.com/office/drawing/2014/main" id="{46FF86D4-FDF9-8161-6B1B-22A84A35969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072813" y="908855"/>
            <a:ext cx="2155740" cy="1741251"/>
          </a:xfrm>
          <a:prstGeom prst="rect">
            <a:avLst/>
          </a:prstGeom>
        </p:spPr>
      </p:pic>
      <p:sp>
        <p:nvSpPr>
          <p:cNvPr id="27" name="Seta: Circular 26">
            <a:extLst>
              <a:ext uri="{FF2B5EF4-FFF2-40B4-BE49-F238E27FC236}">
                <a16:creationId xmlns:a16="http://schemas.microsoft.com/office/drawing/2014/main" id="{05E8477E-53B1-A1AC-9328-98CD78FEB01C}"/>
              </a:ext>
            </a:extLst>
          </p:cNvPr>
          <p:cNvSpPr/>
          <p:nvPr/>
        </p:nvSpPr>
        <p:spPr>
          <a:xfrm flipH="1">
            <a:off x="1134277" y="1602031"/>
            <a:ext cx="2407960" cy="2231873"/>
          </a:xfrm>
          <a:prstGeom prst="circularArrow">
            <a:avLst>
              <a:gd name="adj1" fmla="val 10300"/>
              <a:gd name="adj2" fmla="val 974449"/>
              <a:gd name="adj3" fmla="val 20441402"/>
              <a:gd name="adj4" fmla="val 16194912"/>
              <a:gd name="adj5" fmla="val 10356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7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254391" y="1032156"/>
            <a:ext cx="181842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Unlock the 4 latches on each </a:t>
            </a:r>
            <a:r>
              <a:rPr lang="en-US" sz="1400" dirty="0">
                <a:solidFill>
                  <a:srgbClr val="B50130"/>
                </a:solidFill>
              </a:rPr>
              <a:t>Side Doo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and remove them.</a:t>
            </a:r>
          </a:p>
        </p:txBody>
      </p:sp>
      <p:pic>
        <p:nvPicPr>
          <p:cNvPr id="9" name="Imagem 8" descr="Desenho de uma casa&#10;&#10;Descrição gerada automaticamente com confiança média">
            <a:extLst>
              <a:ext uri="{FF2B5EF4-FFF2-40B4-BE49-F238E27FC236}">
                <a16:creationId xmlns:a16="http://schemas.microsoft.com/office/drawing/2014/main" id="{F03E051A-B500-BB3A-4D6C-4FD079180A3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65106" y="1437740"/>
            <a:ext cx="4478894" cy="2377896"/>
          </a:xfrm>
          <a:prstGeom prst="rect">
            <a:avLst/>
          </a:prstGeom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E6957973-FB46-981D-3820-DE11F7A9C743}"/>
              </a:ext>
            </a:extLst>
          </p:cNvPr>
          <p:cNvSpPr/>
          <p:nvPr/>
        </p:nvSpPr>
        <p:spPr>
          <a:xfrm>
            <a:off x="1447298" y="3077839"/>
            <a:ext cx="318002" cy="206869"/>
          </a:xfrm>
          <a:prstGeom prst="rect">
            <a:avLst/>
          </a:prstGeom>
          <a:noFill/>
          <a:ln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Forma Livre: Forma 28">
            <a:extLst>
              <a:ext uri="{FF2B5EF4-FFF2-40B4-BE49-F238E27FC236}">
                <a16:creationId xmlns:a16="http://schemas.microsoft.com/office/drawing/2014/main" id="{763D10E9-6E15-9D8F-F9C6-4B67DE000362}"/>
              </a:ext>
            </a:extLst>
          </p:cNvPr>
          <p:cNvSpPr/>
          <p:nvPr/>
        </p:nvSpPr>
        <p:spPr>
          <a:xfrm>
            <a:off x="1449070" y="3078440"/>
            <a:ext cx="2880360" cy="1706880"/>
          </a:xfrm>
          <a:custGeom>
            <a:avLst/>
            <a:gdLst>
              <a:gd name="connsiteX0" fmla="*/ 316230 w 2880360"/>
              <a:gd name="connsiteY0" fmla="*/ 0 h 1706880"/>
              <a:gd name="connsiteX1" fmla="*/ 2880360 w 2880360"/>
              <a:gd name="connsiteY1" fmla="*/ 274320 h 1706880"/>
              <a:gd name="connsiteX2" fmla="*/ 678180 w 2880360"/>
              <a:gd name="connsiteY2" fmla="*/ 1706880 h 1706880"/>
              <a:gd name="connsiteX3" fmla="*/ 0 w 2880360"/>
              <a:gd name="connsiteY3" fmla="*/ 209550 h 1706880"/>
              <a:gd name="connsiteX4" fmla="*/ 320040 w 2880360"/>
              <a:gd name="connsiteY4" fmla="*/ 209550 h 1706880"/>
              <a:gd name="connsiteX5" fmla="*/ 316230 w 2880360"/>
              <a:gd name="connsiteY5" fmla="*/ 0 h 1706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80360" h="1706880">
                <a:moveTo>
                  <a:pt x="316230" y="0"/>
                </a:moveTo>
                <a:lnTo>
                  <a:pt x="2880360" y="274320"/>
                </a:lnTo>
                <a:lnTo>
                  <a:pt x="678180" y="1706880"/>
                </a:lnTo>
                <a:lnTo>
                  <a:pt x="0" y="209550"/>
                </a:lnTo>
                <a:lnTo>
                  <a:pt x="320040" y="209550"/>
                </a:lnTo>
                <a:lnTo>
                  <a:pt x="316230" y="0"/>
                </a:lnTo>
                <a:close/>
              </a:path>
            </a:pathLst>
          </a:custGeom>
          <a:gradFill>
            <a:gsLst>
              <a:gs pos="100000">
                <a:srgbClr val="B50130"/>
              </a:gs>
              <a:gs pos="0">
                <a:srgbClr val="B50130">
                  <a:alpha val="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2" name="Imagem 21" descr="Uma imagem contendo Logotipo&#10;&#10;Descrição gerada automaticamente">
            <a:extLst>
              <a:ext uri="{FF2B5EF4-FFF2-40B4-BE49-F238E27FC236}">
                <a16:creationId xmlns:a16="http://schemas.microsoft.com/office/drawing/2014/main" id="{82816CFF-DDD0-A906-32CC-DB39DD0ED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29288" y="3358370"/>
            <a:ext cx="2196324" cy="1428770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51147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8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16" name="Imagem 15" descr="Desenho técnico&#10;&#10;Descrição gerada automaticamente com confiança média">
            <a:extLst>
              <a:ext uri="{FF2B5EF4-FFF2-40B4-BE49-F238E27FC236}">
                <a16:creationId xmlns:a16="http://schemas.microsoft.com/office/drawing/2014/main" id="{E1B6DEBE-C161-7DDE-4DE4-3D004CCAC28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3440" y="2463618"/>
            <a:ext cx="3088096" cy="2549406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E7851AA4-B384-957C-C92A-E4AD71D2391E}"/>
              </a:ext>
            </a:extLst>
          </p:cNvPr>
          <p:cNvSpPr txBox="1"/>
          <p:nvPr/>
        </p:nvSpPr>
        <p:spPr>
          <a:xfrm>
            <a:off x="381000" y="963143"/>
            <a:ext cx="21082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Remove the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2 </a:t>
            </a:r>
            <a:r>
              <a:rPr lang="en-US" sz="1400" dirty="0">
                <a:solidFill>
                  <a:srgbClr val="B50130"/>
                </a:solidFill>
              </a:rPr>
              <a:t>Upper Mounting Bar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rom the Heat Recovery Module.</a:t>
            </a:r>
          </a:p>
        </p:txBody>
      </p:sp>
      <p:sp>
        <p:nvSpPr>
          <p:cNvPr id="13" name="Triângulo isósceles 9">
            <a:extLst>
              <a:ext uri="{FF2B5EF4-FFF2-40B4-BE49-F238E27FC236}">
                <a16:creationId xmlns:a16="http://schemas.microsoft.com/office/drawing/2014/main" id="{415857AD-C41F-7E38-3B45-AFA8A9DBC149}"/>
              </a:ext>
            </a:extLst>
          </p:cNvPr>
          <p:cNvSpPr/>
          <p:nvPr/>
        </p:nvSpPr>
        <p:spPr>
          <a:xfrm rot="10800000" flipH="1">
            <a:off x="1323687" y="1861246"/>
            <a:ext cx="3930574" cy="1803014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0663693 w 13209036"/>
              <a:gd name="connsiteY0" fmla="*/ 3369578 h 3370498"/>
              <a:gd name="connsiteX1" fmla="*/ 0 w 13209036"/>
              <a:gd name="connsiteY1" fmla="*/ 0 h 3370498"/>
              <a:gd name="connsiteX2" fmla="*/ 13201337 w 13209036"/>
              <a:gd name="connsiteY2" fmla="*/ 966988 h 3370498"/>
              <a:gd name="connsiteX3" fmla="*/ 10663693 w 13209036"/>
              <a:gd name="connsiteY3" fmla="*/ 3369578 h 3370498"/>
              <a:gd name="connsiteX0" fmla="*/ 10663693 w 13209036"/>
              <a:gd name="connsiteY0" fmla="*/ 3369578 h 3369578"/>
              <a:gd name="connsiteX1" fmla="*/ 0 w 13209036"/>
              <a:gd name="connsiteY1" fmla="*/ 0 h 3369578"/>
              <a:gd name="connsiteX2" fmla="*/ 13201337 w 13209036"/>
              <a:gd name="connsiteY2" fmla="*/ 966988 h 3369578"/>
              <a:gd name="connsiteX3" fmla="*/ 10663693 w 13209036"/>
              <a:gd name="connsiteY3" fmla="*/ 3369578 h 33695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516144 w 13061487"/>
              <a:gd name="connsiteY0" fmla="*/ 3520279 h 3520279"/>
              <a:gd name="connsiteX1" fmla="*/ 0 w 13061487"/>
              <a:gd name="connsiteY1" fmla="*/ 60333 h 3520279"/>
              <a:gd name="connsiteX2" fmla="*/ 13053788 w 13061487"/>
              <a:gd name="connsiteY2" fmla="*/ 1117689 h 3520279"/>
              <a:gd name="connsiteX3" fmla="*/ 10516144 w 13061487"/>
              <a:gd name="connsiteY3" fmla="*/ 3520279 h 3520279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4078965"/>
              <a:gd name="connsiteY0" fmla="*/ 3562401 h 3562401"/>
              <a:gd name="connsiteX1" fmla="*/ 0 w 14078965"/>
              <a:gd name="connsiteY1" fmla="*/ 102455 h 3562401"/>
              <a:gd name="connsiteX2" fmla="*/ 14073220 w 14078965"/>
              <a:gd name="connsiteY2" fmla="*/ 1116779 h 3562401"/>
              <a:gd name="connsiteX3" fmla="*/ 10516144 w 14078965"/>
              <a:gd name="connsiteY3" fmla="*/ 3562401 h 3562401"/>
              <a:gd name="connsiteX0" fmla="*/ 10516144 w 11918173"/>
              <a:gd name="connsiteY0" fmla="*/ 4340762 h 4340762"/>
              <a:gd name="connsiteX1" fmla="*/ 0 w 11918173"/>
              <a:gd name="connsiteY1" fmla="*/ 880816 h 4340762"/>
              <a:gd name="connsiteX2" fmla="*/ 11905709 w 11918173"/>
              <a:gd name="connsiteY2" fmla="*/ 500894 h 4340762"/>
              <a:gd name="connsiteX3" fmla="*/ 10516144 w 11918173"/>
              <a:gd name="connsiteY3" fmla="*/ 4340762 h 4340762"/>
              <a:gd name="connsiteX0" fmla="*/ 10516144 w 11918173"/>
              <a:gd name="connsiteY0" fmla="*/ 4003419 h 4003419"/>
              <a:gd name="connsiteX1" fmla="*/ 0 w 11918173"/>
              <a:gd name="connsiteY1" fmla="*/ 543473 h 4003419"/>
              <a:gd name="connsiteX2" fmla="*/ 11905709 w 11918173"/>
              <a:gd name="connsiteY2" fmla="*/ 163551 h 4003419"/>
              <a:gd name="connsiteX3" fmla="*/ 10516144 w 11918173"/>
              <a:gd name="connsiteY3" fmla="*/ 4003419 h 4003419"/>
              <a:gd name="connsiteX0" fmla="*/ 10516144 w 11918173"/>
              <a:gd name="connsiteY0" fmla="*/ 4031703 h 4031703"/>
              <a:gd name="connsiteX1" fmla="*/ 0 w 11918173"/>
              <a:gd name="connsiteY1" fmla="*/ 571757 h 4031703"/>
              <a:gd name="connsiteX2" fmla="*/ 11905709 w 11918173"/>
              <a:gd name="connsiteY2" fmla="*/ 191835 h 4031703"/>
              <a:gd name="connsiteX3" fmla="*/ 10516144 w 11918173"/>
              <a:gd name="connsiteY3" fmla="*/ 4031703 h 4031703"/>
              <a:gd name="connsiteX0" fmla="*/ 11479484 w 11931722"/>
              <a:gd name="connsiteY0" fmla="*/ 3412040 h 3412040"/>
              <a:gd name="connsiteX1" fmla="*/ 0 w 11931722"/>
              <a:gd name="connsiteY1" fmla="*/ 571759 h 3412040"/>
              <a:gd name="connsiteX2" fmla="*/ 11905709 w 11931722"/>
              <a:gd name="connsiteY2" fmla="*/ 191837 h 3412040"/>
              <a:gd name="connsiteX3" fmla="*/ 11479484 w 11931722"/>
              <a:gd name="connsiteY3" fmla="*/ 3412040 h 3412040"/>
              <a:gd name="connsiteX0" fmla="*/ 11761981 w 12214219"/>
              <a:gd name="connsiteY0" fmla="*/ 3412040 h 3434823"/>
              <a:gd name="connsiteX1" fmla="*/ 3427582 w 12214219"/>
              <a:gd name="connsiteY1" fmla="*/ 1917474 h 3434823"/>
              <a:gd name="connsiteX2" fmla="*/ 282497 w 12214219"/>
              <a:gd name="connsiteY2" fmla="*/ 571759 h 3434823"/>
              <a:gd name="connsiteX3" fmla="*/ 12188206 w 12214219"/>
              <a:gd name="connsiteY3" fmla="*/ 191837 h 3434823"/>
              <a:gd name="connsiteX4" fmla="*/ 11761981 w 12214219"/>
              <a:gd name="connsiteY4" fmla="*/ 3412040 h 3434823"/>
              <a:gd name="connsiteX0" fmla="*/ 11761981 w 12214219"/>
              <a:gd name="connsiteY0" fmla="*/ 3412040 h 3428726"/>
              <a:gd name="connsiteX1" fmla="*/ 3427582 w 12214219"/>
              <a:gd name="connsiteY1" fmla="*/ 1917474 h 3428726"/>
              <a:gd name="connsiteX2" fmla="*/ 282497 w 12214219"/>
              <a:gd name="connsiteY2" fmla="*/ 571759 h 3428726"/>
              <a:gd name="connsiteX3" fmla="*/ 12188206 w 12214219"/>
              <a:gd name="connsiteY3" fmla="*/ 191837 h 3428726"/>
              <a:gd name="connsiteX4" fmla="*/ 11761981 w 12214219"/>
              <a:gd name="connsiteY4" fmla="*/ 3412040 h 3428726"/>
              <a:gd name="connsiteX0" fmla="*/ 17128299 w 17580537"/>
              <a:gd name="connsiteY0" fmla="*/ 3412040 h 3449646"/>
              <a:gd name="connsiteX1" fmla="*/ 123859 w 17580537"/>
              <a:gd name="connsiteY1" fmla="*/ 1194533 h 3449646"/>
              <a:gd name="connsiteX2" fmla="*/ 8793900 w 17580537"/>
              <a:gd name="connsiteY2" fmla="*/ 1917474 h 3449646"/>
              <a:gd name="connsiteX3" fmla="*/ 5648815 w 17580537"/>
              <a:gd name="connsiteY3" fmla="*/ 571759 h 3449646"/>
              <a:gd name="connsiteX4" fmla="*/ 17554524 w 17580537"/>
              <a:gd name="connsiteY4" fmla="*/ 191837 h 3449646"/>
              <a:gd name="connsiteX5" fmla="*/ 17128299 w 17580537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8670041 w 17456678"/>
              <a:gd name="connsiteY2" fmla="*/ 1917474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10741217 w 17456678"/>
              <a:gd name="connsiteY2" fmla="*/ 1211745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10741217 w 17456678"/>
              <a:gd name="connsiteY2" fmla="*/ 1211745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51435"/>
              <a:gd name="connsiteX1" fmla="*/ 0 w 17456678"/>
              <a:gd name="connsiteY1" fmla="*/ 1194533 h 3451435"/>
              <a:gd name="connsiteX2" fmla="*/ 10741217 w 17456678"/>
              <a:gd name="connsiteY2" fmla="*/ 1211745 h 3451435"/>
              <a:gd name="connsiteX3" fmla="*/ 5524956 w 17456678"/>
              <a:gd name="connsiteY3" fmla="*/ 571759 h 3451435"/>
              <a:gd name="connsiteX4" fmla="*/ 17430665 w 17456678"/>
              <a:gd name="connsiteY4" fmla="*/ 191837 h 3451435"/>
              <a:gd name="connsiteX5" fmla="*/ 17004440 w 17456678"/>
              <a:gd name="connsiteY5" fmla="*/ 3412040 h 3451435"/>
              <a:gd name="connsiteX0" fmla="*/ 17630610 w 17630610"/>
              <a:gd name="connsiteY0" fmla="*/ 2637459 h 2694787"/>
              <a:gd name="connsiteX1" fmla="*/ 0 w 17630610"/>
              <a:gd name="connsiteY1" fmla="*/ 1194533 h 2694787"/>
              <a:gd name="connsiteX2" fmla="*/ 10741217 w 17630610"/>
              <a:gd name="connsiteY2" fmla="*/ 1211745 h 2694787"/>
              <a:gd name="connsiteX3" fmla="*/ 5524956 w 17630610"/>
              <a:gd name="connsiteY3" fmla="*/ 571759 h 2694787"/>
              <a:gd name="connsiteX4" fmla="*/ 17430665 w 17630610"/>
              <a:gd name="connsiteY4" fmla="*/ 191837 h 2694787"/>
              <a:gd name="connsiteX5" fmla="*/ 17630610 w 17630610"/>
              <a:gd name="connsiteY5" fmla="*/ 2637459 h 2694787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0741217 w 17630610"/>
              <a:gd name="connsiteY2" fmla="*/ 1211745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7630610"/>
              <a:gd name="connsiteY0" fmla="*/ 2637459 h 2638152"/>
              <a:gd name="connsiteX1" fmla="*/ 0 w 17630610"/>
              <a:gd name="connsiteY1" fmla="*/ 1194533 h 2638152"/>
              <a:gd name="connsiteX2" fmla="*/ 10741217 w 17630610"/>
              <a:gd name="connsiteY2" fmla="*/ 1211745 h 2638152"/>
              <a:gd name="connsiteX3" fmla="*/ 5524956 w 17630610"/>
              <a:gd name="connsiteY3" fmla="*/ 571759 h 2638152"/>
              <a:gd name="connsiteX4" fmla="*/ 17430665 w 17630610"/>
              <a:gd name="connsiteY4" fmla="*/ 191837 h 2638152"/>
              <a:gd name="connsiteX5" fmla="*/ 17630610 w 17630610"/>
              <a:gd name="connsiteY5" fmla="*/ 2637459 h 2638152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0741217 w 17630610"/>
              <a:gd name="connsiteY2" fmla="*/ 1211745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7630610"/>
              <a:gd name="connsiteY0" fmla="*/ 2637459 h 2638152"/>
              <a:gd name="connsiteX1" fmla="*/ 0 w 17630610"/>
              <a:gd name="connsiteY1" fmla="*/ 1194533 h 2638152"/>
              <a:gd name="connsiteX2" fmla="*/ 13245896 w 17630610"/>
              <a:gd name="connsiteY2" fmla="*/ 1366660 h 2638152"/>
              <a:gd name="connsiteX3" fmla="*/ 5524956 w 17630610"/>
              <a:gd name="connsiteY3" fmla="*/ 571759 h 2638152"/>
              <a:gd name="connsiteX4" fmla="*/ 17430665 w 17630610"/>
              <a:gd name="connsiteY4" fmla="*/ 191837 h 2638152"/>
              <a:gd name="connsiteX5" fmla="*/ 17630610 w 17630610"/>
              <a:gd name="connsiteY5" fmla="*/ 2637459 h 2638152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6762079 w 17630610"/>
              <a:gd name="connsiteY2" fmla="*/ 1435512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9224133"/>
              <a:gd name="connsiteY0" fmla="*/ 2793207 h 2793900"/>
              <a:gd name="connsiteX1" fmla="*/ 0 w 19224133"/>
              <a:gd name="connsiteY1" fmla="*/ 1350281 h 2793900"/>
              <a:gd name="connsiteX2" fmla="*/ 16762079 w 19224133"/>
              <a:gd name="connsiteY2" fmla="*/ 1591260 h 2793900"/>
              <a:gd name="connsiteX3" fmla="*/ 5524956 w 19224133"/>
              <a:gd name="connsiteY3" fmla="*/ 727507 h 2793900"/>
              <a:gd name="connsiteX4" fmla="*/ 19212840 w 19224133"/>
              <a:gd name="connsiteY4" fmla="*/ 158244 h 2793900"/>
              <a:gd name="connsiteX5" fmla="*/ 17630610 w 19224133"/>
              <a:gd name="connsiteY5" fmla="*/ 2793207 h 2793900"/>
              <a:gd name="connsiteX0" fmla="*/ 18690282 w 19236293"/>
              <a:gd name="connsiteY0" fmla="*/ 3034188 h 3034759"/>
              <a:gd name="connsiteX1" fmla="*/ 0 w 19236293"/>
              <a:gd name="connsiteY1" fmla="*/ 1350281 h 3034759"/>
              <a:gd name="connsiteX2" fmla="*/ 16762079 w 19236293"/>
              <a:gd name="connsiteY2" fmla="*/ 1591260 h 3034759"/>
              <a:gd name="connsiteX3" fmla="*/ 5524956 w 19236293"/>
              <a:gd name="connsiteY3" fmla="*/ 727507 h 3034759"/>
              <a:gd name="connsiteX4" fmla="*/ 19212840 w 19236293"/>
              <a:gd name="connsiteY4" fmla="*/ 158244 h 3034759"/>
              <a:gd name="connsiteX5" fmla="*/ 18690282 w 19236293"/>
              <a:gd name="connsiteY5" fmla="*/ 3034188 h 3034759"/>
              <a:gd name="connsiteX0" fmla="*/ 18690282 w 19236293"/>
              <a:gd name="connsiteY0" fmla="*/ 3034188 h 3034757"/>
              <a:gd name="connsiteX1" fmla="*/ 0 w 19236293"/>
              <a:gd name="connsiteY1" fmla="*/ 1350281 h 3034757"/>
              <a:gd name="connsiteX2" fmla="*/ 16762079 w 19236293"/>
              <a:gd name="connsiteY2" fmla="*/ 1591260 h 3034757"/>
              <a:gd name="connsiteX3" fmla="*/ 5524956 w 19236293"/>
              <a:gd name="connsiteY3" fmla="*/ 727507 h 3034757"/>
              <a:gd name="connsiteX4" fmla="*/ 19212840 w 19236293"/>
              <a:gd name="connsiteY4" fmla="*/ 158244 h 3034757"/>
              <a:gd name="connsiteX5" fmla="*/ 18690282 w 19236293"/>
              <a:gd name="connsiteY5" fmla="*/ 3034188 h 3034757"/>
              <a:gd name="connsiteX0" fmla="*/ 18545781 w 19091792"/>
              <a:gd name="connsiteY0" fmla="*/ 3034188 h 3034737"/>
              <a:gd name="connsiteX1" fmla="*/ 0 w 19091792"/>
              <a:gd name="connsiteY1" fmla="*/ 1298642 h 3034737"/>
              <a:gd name="connsiteX2" fmla="*/ 16617578 w 19091792"/>
              <a:gd name="connsiteY2" fmla="*/ 1591260 h 3034737"/>
              <a:gd name="connsiteX3" fmla="*/ 5380455 w 19091792"/>
              <a:gd name="connsiteY3" fmla="*/ 727507 h 3034737"/>
              <a:gd name="connsiteX4" fmla="*/ 19068339 w 19091792"/>
              <a:gd name="connsiteY4" fmla="*/ 158244 h 3034737"/>
              <a:gd name="connsiteX5" fmla="*/ 18545781 w 19091792"/>
              <a:gd name="connsiteY5" fmla="*/ 3034188 h 3034737"/>
              <a:gd name="connsiteX0" fmla="*/ 18545781 w 19091792"/>
              <a:gd name="connsiteY0" fmla="*/ 3034188 h 3034737"/>
              <a:gd name="connsiteX1" fmla="*/ 0 w 19091792"/>
              <a:gd name="connsiteY1" fmla="*/ 1298642 h 3034737"/>
              <a:gd name="connsiteX2" fmla="*/ 16617578 w 19091792"/>
              <a:gd name="connsiteY2" fmla="*/ 1591260 h 3034737"/>
              <a:gd name="connsiteX3" fmla="*/ 5380455 w 19091792"/>
              <a:gd name="connsiteY3" fmla="*/ 727507 h 3034737"/>
              <a:gd name="connsiteX4" fmla="*/ 19068339 w 19091792"/>
              <a:gd name="connsiteY4" fmla="*/ 158244 h 3034737"/>
              <a:gd name="connsiteX5" fmla="*/ 18545781 w 19091792"/>
              <a:gd name="connsiteY5" fmla="*/ 3034188 h 3034737"/>
              <a:gd name="connsiteX0" fmla="*/ 18545781 w 19091792"/>
              <a:gd name="connsiteY0" fmla="*/ 3052587 h 3053136"/>
              <a:gd name="connsiteX1" fmla="*/ 0 w 19091792"/>
              <a:gd name="connsiteY1" fmla="*/ 1317041 h 3053136"/>
              <a:gd name="connsiteX2" fmla="*/ 16617578 w 19091792"/>
              <a:gd name="connsiteY2" fmla="*/ 1609659 h 3053136"/>
              <a:gd name="connsiteX3" fmla="*/ 5356372 w 19091792"/>
              <a:gd name="connsiteY3" fmla="*/ 634021 h 3053136"/>
              <a:gd name="connsiteX4" fmla="*/ 19068339 w 19091792"/>
              <a:gd name="connsiteY4" fmla="*/ 176643 h 3053136"/>
              <a:gd name="connsiteX5" fmla="*/ 18545781 w 19091792"/>
              <a:gd name="connsiteY5" fmla="*/ 3052587 h 3053136"/>
              <a:gd name="connsiteX0" fmla="*/ 18545781 w 19091792"/>
              <a:gd name="connsiteY0" fmla="*/ 3052587 h 3053136"/>
              <a:gd name="connsiteX1" fmla="*/ 0 w 19091792"/>
              <a:gd name="connsiteY1" fmla="*/ 1317041 h 3053136"/>
              <a:gd name="connsiteX2" fmla="*/ 16617578 w 19091792"/>
              <a:gd name="connsiteY2" fmla="*/ 1609659 h 3053136"/>
              <a:gd name="connsiteX3" fmla="*/ 5356372 w 19091792"/>
              <a:gd name="connsiteY3" fmla="*/ 634021 h 3053136"/>
              <a:gd name="connsiteX4" fmla="*/ 19068339 w 19091792"/>
              <a:gd name="connsiteY4" fmla="*/ 176643 h 3053136"/>
              <a:gd name="connsiteX5" fmla="*/ 18545781 w 19091792"/>
              <a:gd name="connsiteY5" fmla="*/ 3052587 h 3053136"/>
              <a:gd name="connsiteX0" fmla="*/ 18088196 w 18634207"/>
              <a:gd name="connsiteY0" fmla="*/ 3052587 h 3053060"/>
              <a:gd name="connsiteX1" fmla="*/ 0 w 18634207"/>
              <a:gd name="connsiteY1" fmla="*/ 1084667 h 3053060"/>
              <a:gd name="connsiteX2" fmla="*/ 16159993 w 18634207"/>
              <a:gd name="connsiteY2" fmla="*/ 1609659 h 3053060"/>
              <a:gd name="connsiteX3" fmla="*/ 4898787 w 18634207"/>
              <a:gd name="connsiteY3" fmla="*/ 634021 h 3053060"/>
              <a:gd name="connsiteX4" fmla="*/ 18610754 w 18634207"/>
              <a:gd name="connsiteY4" fmla="*/ 176643 h 3053060"/>
              <a:gd name="connsiteX5" fmla="*/ 18088196 w 18634207"/>
              <a:gd name="connsiteY5" fmla="*/ 3052587 h 3053060"/>
              <a:gd name="connsiteX0" fmla="*/ 18088196 w 18634207"/>
              <a:gd name="connsiteY0" fmla="*/ 3054166 h 3054637"/>
              <a:gd name="connsiteX1" fmla="*/ 0 w 18634207"/>
              <a:gd name="connsiteY1" fmla="*/ 1086246 h 3054637"/>
              <a:gd name="connsiteX2" fmla="*/ 16159993 w 18634207"/>
              <a:gd name="connsiteY2" fmla="*/ 1611238 h 3054637"/>
              <a:gd name="connsiteX3" fmla="*/ 4874703 w 18634207"/>
              <a:gd name="connsiteY3" fmla="*/ 626994 h 3054637"/>
              <a:gd name="connsiteX4" fmla="*/ 18610754 w 18634207"/>
              <a:gd name="connsiteY4" fmla="*/ 178222 h 3054637"/>
              <a:gd name="connsiteX5" fmla="*/ 18088196 w 18634207"/>
              <a:gd name="connsiteY5" fmla="*/ 3054166 h 3054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634207" h="3054637">
                <a:moveTo>
                  <a:pt x="18088196" y="3054166"/>
                </a:moveTo>
                <a:cubicBezTo>
                  <a:pt x="13296547" y="3086447"/>
                  <a:pt x="2207902" y="1455831"/>
                  <a:pt x="0" y="1086246"/>
                </a:cubicBezTo>
                <a:cubicBezTo>
                  <a:pt x="3379457" y="1267475"/>
                  <a:pt x="13400798" y="1786755"/>
                  <a:pt x="16159993" y="1611238"/>
                </a:cubicBezTo>
                <a:cubicBezTo>
                  <a:pt x="13765080" y="1223923"/>
                  <a:pt x="10663719" y="642062"/>
                  <a:pt x="4874703" y="626994"/>
                </a:cubicBezTo>
                <a:cubicBezTo>
                  <a:pt x="7187994" y="255703"/>
                  <a:pt x="15715255" y="-283680"/>
                  <a:pt x="18610754" y="178222"/>
                </a:cubicBezTo>
                <a:cubicBezTo>
                  <a:pt x="18786358" y="1080178"/>
                  <a:pt x="17912592" y="2152210"/>
                  <a:pt x="18088196" y="3054166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4" name="Imagem 13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05D44AE3-F592-9DAB-29BA-DCF1D82D636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l="4451" t="3750" r="4451" b="5228"/>
          <a:stretch/>
        </p:blipFill>
        <p:spPr>
          <a:xfrm>
            <a:off x="4430998" y="1606434"/>
            <a:ext cx="4201650" cy="223404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5B5C1A0F-7058-6EA5-B304-4DEA61253AD9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86298" y="813450"/>
            <a:ext cx="1455238" cy="1254312"/>
          </a:xfrm>
          <a:prstGeom prst="rect">
            <a:avLst/>
          </a:prstGeom>
        </p:spPr>
      </p:pic>
      <p:sp>
        <p:nvSpPr>
          <p:cNvPr id="11" name="Elipse 10">
            <a:extLst>
              <a:ext uri="{FF2B5EF4-FFF2-40B4-BE49-F238E27FC236}">
                <a16:creationId xmlns:a16="http://schemas.microsoft.com/office/drawing/2014/main" id="{925AD089-7B87-E532-6120-5FC3217784FF}"/>
              </a:ext>
            </a:extLst>
          </p:cNvPr>
          <p:cNvSpPr/>
          <p:nvPr/>
        </p:nvSpPr>
        <p:spPr>
          <a:xfrm>
            <a:off x="1099247" y="2822799"/>
            <a:ext cx="393000" cy="39300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id="{D7A46369-D1C2-F418-D4F3-7A4B01E99CDE}"/>
              </a:ext>
            </a:extLst>
          </p:cNvPr>
          <p:cNvSpPr/>
          <p:nvPr/>
        </p:nvSpPr>
        <p:spPr>
          <a:xfrm>
            <a:off x="2041934" y="3081879"/>
            <a:ext cx="393000" cy="39300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73889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19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924BC578-14B3-874C-DA87-5D9F57D05B8D}"/>
              </a:ext>
            </a:extLst>
          </p:cNvPr>
          <p:cNvSpPr txBox="1"/>
          <p:nvPr/>
        </p:nvSpPr>
        <p:spPr>
          <a:xfrm>
            <a:off x="111662" y="976574"/>
            <a:ext cx="319567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Place the two </a:t>
            </a:r>
            <a:r>
              <a:rPr lang="en-US" sz="1400" dirty="0">
                <a:solidFill>
                  <a:srgbClr val="B50130"/>
                </a:solidFill>
              </a:rPr>
              <a:t>Upper Mounting Bar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rough the two top slots of the Rooftop.</a:t>
            </a:r>
          </a:p>
        </p:txBody>
      </p:sp>
      <p:pic>
        <p:nvPicPr>
          <p:cNvPr id="7" name="Imagem 6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7D46CDF5-3A08-E159-9755-BCFBC315ACF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1662" y="1852610"/>
            <a:ext cx="3195669" cy="2776328"/>
          </a:xfrm>
          <a:prstGeom prst="rect">
            <a:avLst/>
          </a:prstGeom>
        </p:spPr>
      </p:pic>
      <p:pic>
        <p:nvPicPr>
          <p:cNvPr id="15" name="Imagem 14" descr="Uma imagem contendo Diagrama&#10;&#10;Descrição gerada automaticamente">
            <a:extLst>
              <a:ext uri="{FF2B5EF4-FFF2-40B4-BE49-F238E27FC236}">
                <a16:creationId xmlns:a16="http://schemas.microsoft.com/office/drawing/2014/main" id="{752FEF29-1F96-FCF3-2FED-5FA82223D06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1" b="524"/>
          <a:stretch/>
        </p:blipFill>
        <p:spPr>
          <a:xfrm>
            <a:off x="6334412" y="2986402"/>
            <a:ext cx="2629632" cy="1381054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22" name="Imagem 21" descr="Uma imagem contendo Diagrama&#10;&#10;Descrição gerada automaticamente">
            <a:extLst>
              <a:ext uri="{FF2B5EF4-FFF2-40B4-BE49-F238E27FC236}">
                <a16:creationId xmlns:a16="http://schemas.microsoft.com/office/drawing/2014/main" id="{9165D134-FD89-D6F8-1B96-80613969D5F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34412" y="1299455"/>
            <a:ext cx="2629632" cy="1381054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sp>
        <p:nvSpPr>
          <p:cNvPr id="27" name="Seta: para a Direita 26">
            <a:extLst>
              <a:ext uri="{FF2B5EF4-FFF2-40B4-BE49-F238E27FC236}">
                <a16:creationId xmlns:a16="http://schemas.microsoft.com/office/drawing/2014/main" id="{158F45F4-2892-C8BF-CC01-22C13AA02DA7}"/>
              </a:ext>
            </a:extLst>
          </p:cNvPr>
          <p:cNvSpPr/>
          <p:nvPr/>
        </p:nvSpPr>
        <p:spPr>
          <a:xfrm>
            <a:off x="6107820" y="1772327"/>
            <a:ext cx="143028" cy="43531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5" name="Seta: para a Direita 34">
            <a:extLst>
              <a:ext uri="{FF2B5EF4-FFF2-40B4-BE49-F238E27FC236}">
                <a16:creationId xmlns:a16="http://schemas.microsoft.com/office/drawing/2014/main" id="{942CF24E-396F-9DD1-9B33-3385112C0A32}"/>
              </a:ext>
            </a:extLst>
          </p:cNvPr>
          <p:cNvSpPr/>
          <p:nvPr/>
        </p:nvSpPr>
        <p:spPr>
          <a:xfrm>
            <a:off x="6107820" y="3459274"/>
            <a:ext cx="143028" cy="43531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Triângulo isósceles 9">
            <a:extLst>
              <a:ext uri="{FF2B5EF4-FFF2-40B4-BE49-F238E27FC236}">
                <a16:creationId xmlns:a16="http://schemas.microsoft.com/office/drawing/2014/main" id="{3AC7EBFE-ABFB-6D5C-23EA-DCD36E6715F1}"/>
              </a:ext>
            </a:extLst>
          </p:cNvPr>
          <p:cNvSpPr/>
          <p:nvPr/>
        </p:nvSpPr>
        <p:spPr>
          <a:xfrm rot="10800000" flipH="1" flipV="1">
            <a:off x="1950304" y="2746005"/>
            <a:ext cx="2451678" cy="1438872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9844053 w 23068393"/>
              <a:gd name="connsiteY2" fmla="*/ 1161847 h 4125320"/>
              <a:gd name="connsiteX3" fmla="*/ 23068393 w 23068393"/>
              <a:gd name="connsiteY3" fmla="*/ 4110008 h 4125320"/>
              <a:gd name="connsiteX0" fmla="*/ 23045048 w 23045048"/>
              <a:gd name="connsiteY0" fmla="*/ 4110008 h 4115093"/>
              <a:gd name="connsiteX1" fmla="*/ 213887 w 23045048"/>
              <a:gd name="connsiteY1" fmla="*/ 0 h 4115093"/>
              <a:gd name="connsiteX2" fmla="*/ 19820708 w 23045048"/>
              <a:gd name="connsiteY2" fmla="*/ 1161847 h 4115093"/>
              <a:gd name="connsiteX3" fmla="*/ 23045048 w 23045048"/>
              <a:gd name="connsiteY3" fmla="*/ 4110008 h 4115093"/>
              <a:gd name="connsiteX0" fmla="*/ 22831161 w 22831161"/>
              <a:gd name="connsiteY0" fmla="*/ 4110008 h 4114555"/>
              <a:gd name="connsiteX1" fmla="*/ 0 w 22831161"/>
              <a:gd name="connsiteY1" fmla="*/ 0 h 4114555"/>
              <a:gd name="connsiteX2" fmla="*/ 19606821 w 22831161"/>
              <a:gd name="connsiteY2" fmla="*/ 1161847 h 4114555"/>
              <a:gd name="connsiteX3" fmla="*/ 22831161 w 22831161"/>
              <a:gd name="connsiteY3" fmla="*/ 4110008 h 4114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31161" h="4114555">
                <a:moveTo>
                  <a:pt x="22831161" y="4110008"/>
                </a:moveTo>
                <a:cubicBezTo>
                  <a:pt x="16795081" y="4190488"/>
                  <a:pt x="2138478" y="3217947"/>
                  <a:pt x="0" y="0"/>
                </a:cubicBezTo>
                <a:cubicBezTo>
                  <a:pt x="3949056" y="1490460"/>
                  <a:pt x="15215428" y="1166219"/>
                  <a:pt x="19606821" y="1161847"/>
                </a:cubicBezTo>
                <a:cubicBezTo>
                  <a:pt x="19782425" y="2063803"/>
                  <a:pt x="22655557" y="3208052"/>
                  <a:pt x="22831161" y="4110008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7" name="Triângulo isósceles 9">
            <a:extLst>
              <a:ext uri="{FF2B5EF4-FFF2-40B4-BE49-F238E27FC236}">
                <a16:creationId xmlns:a16="http://schemas.microsoft.com/office/drawing/2014/main" id="{67C0661F-808C-593C-532A-A6999AF1BECF}"/>
              </a:ext>
            </a:extLst>
          </p:cNvPr>
          <p:cNvSpPr/>
          <p:nvPr/>
        </p:nvSpPr>
        <p:spPr>
          <a:xfrm rot="10800000" flipH="1">
            <a:off x="2368450" y="1445353"/>
            <a:ext cx="1685389" cy="1134312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414881" h="4579104">
                <a:moveTo>
                  <a:pt x="18414881" y="4573590"/>
                </a:moveTo>
                <a:cubicBezTo>
                  <a:pt x="10247217" y="4723670"/>
                  <a:pt x="716146" y="1772122"/>
                  <a:pt x="-1" y="362562"/>
                </a:cubicBezTo>
                <a:cubicBezTo>
                  <a:pt x="3949053" y="1258306"/>
                  <a:pt x="13603599" y="701625"/>
                  <a:pt x="16440846" y="0"/>
                </a:cubicBezTo>
                <a:cubicBezTo>
                  <a:pt x="16616450" y="901956"/>
                  <a:pt x="18239277" y="3671634"/>
                  <a:pt x="18414881" y="4573590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2" name="Imagem 11" descr="Uma imagem contendo Diagrama&#10;&#10;Descrição gerada automaticamente">
            <a:extLst>
              <a:ext uri="{FF2B5EF4-FFF2-40B4-BE49-F238E27FC236}">
                <a16:creationId xmlns:a16="http://schemas.microsoft.com/office/drawing/2014/main" id="{F7A19C9F-0BF1-FC4F-8448-458B9A06B9E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1" b="222"/>
          <a:stretch/>
        </p:blipFill>
        <p:spPr>
          <a:xfrm>
            <a:off x="3394625" y="2984310"/>
            <a:ext cx="2629632" cy="138523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20" name="Imagem 19" descr="Uma imagem contendo Diagrama&#10;&#10;Descrição gerada automaticamente">
            <a:extLst>
              <a:ext uri="{FF2B5EF4-FFF2-40B4-BE49-F238E27FC236}">
                <a16:creationId xmlns:a16="http://schemas.microsoft.com/office/drawing/2014/main" id="{BEFE7ADC-4C63-C68B-128F-46C02384EF57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94625" y="1297363"/>
            <a:ext cx="2629632" cy="138523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sp>
        <p:nvSpPr>
          <p:cNvPr id="16" name="Elipse 15">
            <a:extLst>
              <a:ext uri="{FF2B5EF4-FFF2-40B4-BE49-F238E27FC236}">
                <a16:creationId xmlns:a16="http://schemas.microsoft.com/office/drawing/2014/main" id="{E568CAE6-D488-A5FD-ABD5-0BA80CC7DCFD}"/>
              </a:ext>
            </a:extLst>
          </p:cNvPr>
          <p:cNvSpPr/>
          <p:nvPr/>
        </p:nvSpPr>
        <p:spPr>
          <a:xfrm>
            <a:off x="1807670" y="2571750"/>
            <a:ext cx="270468" cy="270468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EC72C2CC-DFF1-0AFD-397D-8A52081DA2FB}"/>
              </a:ext>
            </a:extLst>
          </p:cNvPr>
          <p:cNvSpPr/>
          <p:nvPr/>
        </p:nvSpPr>
        <p:spPr>
          <a:xfrm>
            <a:off x="2205662" y="2394088"/>
            <a:ext cx="270468" cy="270468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0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Diagrama, Desenho técnico&#10;&#10;Descrição gerada automaticamente">
            <a:extLst>
              <a:ext uri="{FF2B5EF4-FFF2-40B4-BE49-F238E27FC236}">
                <a16:creationId xmlns:a16="http://schemas.microsoft.com/office/drawing/2014/main" id="{9FC816F8-E14E-9DBC-3B4F-967910DAD371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7179" y="779468"/>
            <a:ext cx="5075150" cy="410340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6A6DBB2-EC76-0ABF-6F26-CE52A93FA290}"/>
              </a:ext>
            </a:extLst>
          </p:cNvPr>
          <p:cNvSpPr txBox="1"/>
          <p:nvPr/>
        </p:nvSpPr>
        <p:spPr>
          <a:xfrm>
            <a:off x="5502329" y="2094696"/>
            <a:ext cx="296642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install the </a:t>
            </a:r>
            <a:r>
              <a:rPr lang="en-US" sz="1400" dirty="0">
                <a:solidFill>
                  <a:srgbClr val="B50130"/>
                </a:solidFill>
              </a:rPr>
              <a:t>Flow Curb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in a </a:t>
            </a:r>
            <a:r>
              <a:rPr lang="en-US" sz="1400" dirty="0">
                <a:solidFill>
                  <a:srgbClr val="B50130"/>
                </a:solidFill>
              </a:rPr>
              <a:t>flat and horizontal structur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o avoid mechanical constraint during the installation process.</a:t>
            </a:r>
          </a:p>
          <a:p>
            <a:pPr algn="ctr"/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It must be fixed to the building structure</a:t>
            </a:r>
          </a:p>
        </p:txBody>
      </p:sp>
      <p:cxnSp>
        <p:nvCxnSpPr>
          <p:cNvPr id="9" name="Conector de Seta Reta 8">
            <a:extLst>
              <a:ext uri="{FF2B5EF4-FFF2-40B4-BE49-F238E27FC236}">
                <a16:creationId xmlns:a16="http://schemas.microsoft.com/office/drawing/2014/main" id="{F64942C1-808E-92A0-FF80-1C066CE1D91C}"/>
              </a:ext>
            </a:extLst>
          </p:cNvPr>
          <p:cNvCxnSpPr/>
          <p:nvPr/>
        </p:nvCxnSpPr>
        <p:spPr>
          <a:xfrm>
            <a:off x="4061021" y="3814249"/>
            <a:ext cx="0" cy="315644"/>
          </a:xfrm>
          <a:prstGeom prst="straightConnector1">
            <a:avLst/>
          </a:prstGeom>
          <a:ln w="28575" cap="rnd">
            <a:solidFill>
              <a:srgbClr val="B50130"/>
            </a:solidFill>
            <a:tailEnd type="triangle"/>
          </a:ln>
          <a:effectLst>
            <a:glow rad="101600">
              <a:schemeClr val="bg1">
                <a:alpha val="8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de Seta Reta 10">
            <a:extLst>
              <a:ext uri="{FF2B5EF4-FFF2-40B4-BE49-F238E27FC236}">
                <a16:creationId xmlns:a16="http://schemas.microsoft.com/office/drawing/2014/main" id="{F8DBCEFA-DAA9-5860-ECD9-CFD3EDE6912E}"/>
              </a:ext>
            </a:extLst>
          </p:cNvPr>
          <p:cNvCxnSpPr/>
          <p:nvPr/>
        </p:nvCxnSpPr>
        <p:spPr>
          <a:xfrm>
            <a:off x="2509912" y="4256590"/>
            <a:ext cx="0" cy="315644"/>
          </a:xfrm>
          <a:prstGeom prst="straightConnector1">
            <a:avLst/>
          </a:prstGeom>
          <a:ln w="28575" cap="rnd">
            <a:solidFill>
              <a:srgbClr val="B50130"/>
            </a:solidFill>
            <a:tailEnd type="triangle"/>
          </a:ln>
          <a:effectLst>
            <a:glow rad="101600">
              <a:schemeClr val="bg1">
                <a:alpha val="8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911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0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7" name="Imagem 6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71907275-5E34-0D02-4372-13425391636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1000" y="630194"/>
            <a:ext cx="2570996" cy="4350429"/>
          </a:xfrm>
          <a:prstGeom prst="rect">
            <a:avLst/>
          </a:prstGeom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2B75C749-77E5-B780-110D-08B53A714CFC}"/>
              </a:ext>
            </a:extLst>
          </p:cNvPr>
          <p:cNvSpPr txBox="1"/>
          <p:nvPr/>
        </p:nvSpPr>
        <p:spPr>
          <a:xfrm>
            <a:off x="2539838" y="985954"/>
            <a:ext cx="271010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Lift the </a:t>
            </a:r>
            <a:r>
              <a:rPr lang="en-US" sz="1400" dirty="0">
                <a:solidFill>
                  <a:srgbClr val="B50130"/>
                </a:solidFill>
              </a:rPr>
              <a:t>Heat Recovery Modul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and carefully position it over the Flow Curb brackets.</a:t>
            </a:r>
          </a:p>
          <a:p>
            <a:pPr algn="ctr"/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not damage the brackets </a:t>
            </a:r>
            <a:r>
              <a:rPr lang="en-GB" sz="1400" dirty="0">
                <a:solidFill>
                  <a:schemeClr val="bg1">
                    <a:lumMod val="50000"/>
                  </a:schemeClr>
                </a:solidFill>
              </a:rPr>
              <a:t>and gaskets of the heat recovery modul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during this process.</a:t>
            </a:r>
          </a:p>
        </p:txBody>
      </p:sp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FE3EC0DE-2066-D7FC-4341-1CA7DE6B4FD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37781" y="630194"/>
            <a:ext cx="3635886" cy="4615995"/>
          </a:xfrm>
          <a:prstGeom prst="rect">
            <a:avLst/>
          </a:prstGeom>
        </p:spPr>
      </p:pic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8989F7F6-A1C0-2DFB-2A6F-7D976F96AD5E}"/>
              </a:ext>
            </a:extLst>
          </p:cNvPr>
          <p:cNvSpPr/>
          <p:nvPr/>
        </p:nvSpPr>
        <p:spPr>
          <a:xfrm>
            <a:off x="3751372" y="3553345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476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37E6340B-2F62-60F7-4790-C4D7F599725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7593"/>
          <a:stretch/>
        </p:blipFill>
        <p:spPr>
          <a:xfrm>
            <a:off x="482400" y="629608"/>
            <a:ext cx="4009268" cy="442249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1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2B75C749-77E5-B780-110D-08B53A714CFC}"/>
              </a:ext>
            </a:extLst>
          </p:cNvPr>
          <p:cNvSpPr txBox="1"/>
          <p:nvPr/>
        </p:nvSpPr>
        <p:spPr>
          <a:xfrm>
            <a:off x="264179" y="817042"/>
            <a:ext cx="25340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properly position the </a:t>
            </a:r>
            <a:r>
              <a:rPr lang="en-US" sz="1400" dirty="0">
                <a:solidFill>
                  <a:srgbClr val="B50130"/>
                </a:solidFill>
              </a:rPr>
              <a:t>Lower Mounting Bar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rom the heat recovery module on the Rooftop base frame.</a:t>
            </a:r>
          </a:p>
        </p:txBody>
      </p:sp>
      <p:pic>
        <p:nvPicPr>
          <p:cNvPr id="21" name="Imagem 20" descr="Diagrama&#10;&#10;Descrição gerada automaticamente">
            <a:extLst>
              <a:ext uri="{FF2B5EF4-FFF2-40B4-BE49-F238E27FC236}">
                <a16:creationId xmlns:a16="http://schemas.microsoft.com/office/drawing/2014/main" id="{8A0E59BC-EACC-2AD0-4167-18A611BE84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4589" y="2959129"/>
            <a:ext cx="2932770" cy="1809444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2" name="Elipse 21">
            <a:extLst>
              <a:ext uri="{FF2B5EF4-FFF2-40B4-BE49-F238E27FC236}">
                <a16:creationId xmlns:a16="http://schemas.microsoft.com/office/drawing/2014/main" id="{D6AD501F-4C03-72D9-C2E9-249C0D1E92DF}"/>
              </a:ext>
            </a:extLst>
          </p:cNvPr>
          <p:cNvSpPr/>
          <p:nvPr/>
        </p:nvSpPr>
        <p:spPr>
          <a:xfrm>
            <a:off x="2661844" y="3337485"/>
            <a:ext cx="579120" cy="57912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Triângulo isósceles 9">
            <a:extLst>
              <a:ext uri="{FF2B5EF4-FFF2-40B4-BE49-F238E27FC236}">
                <a16:creationId xmlns:a16="http://schemas.microsoft.com/office/drawing/2014/main" id="{00194F9C-0E49-D308-C204-1B34D47C0A19}"/>
              </a:ext>
            </a:extLst>
          </p:cNvPr>
          <p:cNvSpPr/>
          <p:nvPr/>
        </p:nvSpPr>
        <p:spPr>
          <a:xfrm rot="10800000" flipH="1">
            <a:off x="2941847" y="856672"/>
            <a:ext cx="3204275" cy="2865096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211029 h 4216543"/>
              <a:gd name="connsiteX1" fmla="*/ -1 w 18414881"/>
              <a:gd name="connsiteY1" fmla="*/ 1 h 4216543"/>
              <a:gd name="connsiteX2" fmla="*/ 18168293 w 18414881"/>
              <a:gd name="connsiteY2" fmla="*/ 1906141 h 4216543"/>
              <a:gd name="connsiteX3" fmla="*/ 18414881 w 18414881"/>
              <a:gd name="connsiteY3" fmla="*/ 4211029 h 4216543"/>
              <a:gd name="connsiteX0" fmla="*/ 18414881 w 18414881"/>
              <a:gd name="connsiteY0" fmla="*/ 4211027 h 4216541"/>
              <a:gd name="connsiteX1" fmla="*/ -1 w 18414881"/>
              <a:gd name="connsiteY1" fmla="*/ -1 h 4216541"/>
              <a:gd name="connsiteX2" fmla="*/ 18168293 w 18414881"/>
              <a:gd name="connsiteY2" fmla="*/ 1906139 h 4216541"/>
              <a:gd name="connsiteX3" fmla="*/ 18414881 w 18414881"/>
              <a:gd name="connsiteY3" fmla="*/ 4211027 h 4216541"/>
              <a:gd name="connsiteX0" fmla="*/ 18414881 w 18414881"/>
              <a:gd name="connsiteY0" fmla="*/ 4211029 h 4211028"/>
              <a:gd name="connsiteX1" fmla="*/ -1 w 18414881"/>
              <a:gd name="connsiteY1" fmla="*/ 1 h 4211028"/>
              <a:gd name="connsiteX2" fmla="*/ 18168293 w 18414881"/>
              <a:gd name="connsiteY2" fmla="*/ 1906141 h 4211028"/>
              <a:gd name="connsiteX3" fmla="*/ 18414881 w 18414881"/>
              <a:gd name="connsiteY3" fmla="*/ 4211029 h 4211028"/>
              <a:gd name="connsiteX0" fmla="*/ 18414881 w 18414881"/>
              <a:gd name="connsiteY0" fmla="*/ 4276049 h 4276050"/>
              <a:gd name="connsiteX1" fmla="*/ -1 w 18414881"/>
              <a:gd name="connsiteY1" fmla="*/ 65021 h 4276050"/>
              <a:gd name="connsiteX2" fmla="*/ 18168293 w 18414881"/>
              <a:gd name="connsiteY2" fmla="*/ 1971161 h 4276050"/>
              <a:gd name="connsiteX3" fmla="*/ 18414881 w 18414881"/>
              <a:gd name="connsiteY3" fmla="*/ 4276049 h 4276050"/>
              <a:gd name="connsiteX0" fmla="*/ 18414881 w 18414881"/>
              <a:gd name="connsiteY0" fmla="*/ 4276049 h 4276048"/>
              <a:gd name="connsiteX1" fmla="*/ -1 w 18414881"/>
              <a:gd name="connsiteY1" fmla="*/ 65021 h 4276048"/>
              <a:gd name="connsiteX2" fmla="*/ 18168293 w 18414881"/>
              <a:gd name="connsiteY2" fmla="*/ 1971161 h 4276048"/>
              <a:gd name="connsiteX3" fmla="*/ 18414881 w 18414881"/>
              <a:gd name="connsiteY3" fmla="*/ 4276049 h 4276048"/>
              <a:gd name="connsiteX0" fmla="*/ 17993553 w 17993553"/>
              <a:gd name="connsiteY0" fmla="*/ 4582666 h 4582667"/>
              <a:gd name="connsiteX1" fmla="*/ 0 w 17993553"/>
              <a:gd name="connsiteY1" fmla="*/ 54507 h 4582667"/>
              <a:gd name="connsiteX2" fmla="*/ 17746965 w 17993553"/>
              <a:gd name="connsiteY2" fmla="*/ 2277778 h 4582667"/>
              <a:gd name="connsiteX3" fmla="*/ 17993553 w 17993553"/>
              <a:gd name="connsiteY3" fmla="*/ 4582666 h 4582667"/>
              <a:gd name="connsiteX0" fmla="*/ 17645957 w 17645957"/>
              <a:gd name="connsiteY0" fmla="*/ 4624190 h 4624189"/>
              <a:gd name="connsiteX1" fmla="*/ 0 w 17645957"/>
              <a:gd name="connsiteY1" fmla="*/ 53340 h 4624189"/>
              <a:gd name="connsiteX2" fmla="*/ 17399369 w 17645957"/>
              <a:gd name="connsiteY2" fmla="*/ 2319302 h 4624189"/>
              <a:gd name="connsiteX3" fmla="*/ 17645957 w 17645957"/>
              <a:gd name="connsiteY3" fmla="*/ 4624190 h 4624189"/>
              <a:gd name="connsiteX0" fmla="*/ 17645957 w 17645957"/>
              <a:gd name="connsiteY0" fmla="*/ 4624190 h 4624191"/>
              <a:gd name="connsiteX1" fmla="*/ 0 w 17645957"/>
              <a:gd name="connsiteY1" fmla="*/ 53340 h 4624191"/>
              <a:gd name="connsiteX2" fmla="*/ 17399369 w 17645957"/>
              <a:gd name="connsiteY2" fmla="*/ 2319302 h 4624191"/>
              <a:gd name="connsiteX3" fmla="*/ 17645957 w 17645957"/>
              <a:gd name="connsiteY3" fmla="*/ 4624190 h 4624191"/>
              <a:gd name="connsiteX0" fmla="*/ 17645957 w 17645957"/>
              <a:gd name="connsiteY0" fmla="*/ 4625651 h 4625651"/>
              <a:gd name="connsiteX1" fmla="*/ 0 w 17645957"/>
              <a:gd name="connsiteY1" fmla="*/ 54801 h 4625651"/>
              <a:gd name="connsiteX2" fmla="*/ 17399369 w 17645957"/>
              <a:gd name="connsiteY2" fmla="*/ 2320763 h 4625651"/>
              <a:gd name="connsiteX3" fmla="*/ 17645957 w 17645957"/>
              <a:gd name="connsiteY3" fmla="*/ 4625651 h 4625651"/>
              <a:gd name="connsiteX0" fmla="*/ 16943743 w 17424544"/>
              <a:gd name="connsiteY0" fmla="*/ 4503680 h 4503679"/>
              <a:gd name="connsiteX1" fmla="*/ 0 w 17424544"/>
              <a:gd name="connsiteY1" fmla="*/ 54803 h 4503679"/>
              <a:gd name="connsiteX2" fmla="*/ 17399369 w 17424544"/>
              <a:gd name="connsiteY2" fmla="*/ 2320765 h 4503679"/>
              <a:gd name="connsiteX3" fmla="*/ 16943743 w 17424544"/>
              <a:gd name="connsiteY3" fmla="*/ 4503680 h 4503679"/>
              <a:gd name="connsiteX0" fmla="*/ 16943743 w 17424544"/>
              <a:gd name="connsiteY0" fmla="*/ 4503680 h 4503681"/>
              <a:gd name="connsiteX1" fmla="*/ 0 w 17424544"/>
              <a:gd name="connsiteY1" fmla="*/ 54803 h 4503681"/>
              <a:gd name="connsiteX2" fmla="*/ 17399369 w 17424544"/>
              <a:gd name="connsiteY2" fmla="*/ 2320765 h 4503681"/>
              <a:gd name="connsiteX3" fmla="*/ 16943743 w 17424544"/>
              <a:gd name="connsiteY3" fmla="*/ 4503680 h 4503681"/>
              <a:gd name="connsiteX0" fmla="*/ 16943743 w 18618036"/>
              <a:gd name="connsiteY0" fmla="*/ 4505516 h 4505515"/>
              <a:gd name="connsiteX1" fmla="*/ 0 w 18618036"/>
              <a:gd name="connsiteY1" fmla="*/ 56639 h 4505515"/>
              <a:gd name="connsiteX2" fmla="*/ 18607177 w 18618036"/>
              <a:gd name="connsiteY2" fmla="*/ 2257549 h 4505515"/>
              <a:gd name="connsiteX3" fmla="*/ 16943743 w 18618036"/>
              <a:gd name="connsiteY3" fmla="*/ 4505516 h 4505515"/>
              <a:gd name="connsiteX0" fmla="*/ 16943743 w 18618036"/>
              <a:gd name="connsiteY0" fmla="*/ 4504839 h 4504840"/>
              <a:gd name="connsiteX1" fmla="*/ 0 w 18618036"/>
              <a:gd name="connsiteY1" fmla="*/ 55962 h 4504840"/>
              <a:gd name="connsiteX2" fmla="*/ 18607177 w 18618036"/>
              <a:gd name="connsiteY2" fmla="*/ 2256872 h 4504840"/>
              <a:gd name="connsiteX3" fmla="*/ 16943743 w 18618036"/>
              <a:gd name="connsiteY3" fmla="*/ 4504839 h 4504840"/>
              <a:gd name="connsiteX0" fmla="*/ 18006968 w 18628914"/>
              <a:gd name="connsiteY0" fmla="*/ 4586155 h 4586155"/>
              <a:gd name="connsiteX1" fmla="*/ 0 w 18628914"/>
              <a:gd name="connsiteY1" fmla="*/ 55962 h 4586155"/>
              <a:gd name="connsiteX2" fmla="*/ 18607177 w 18628914"/>
              <a:gd name="connsiteY2" fmla="*/ 2256872 h 4586155"/>
              <a:gd name="connsiteX3" fmla="*/ 18006968 w 18628914"/>
              <a:gd name="connsiteY3" fmla="*/ 4586155 h 4586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628914" h="4586155">
                <a:moveTo>
                  <a:pt x="18006968" y="4586155"/>
                </a:moveTo>
                <a:cubicBezTo>
                  <a:pt x="14796935" y="2292704"/>
                  <a:pt x="3191450" y="273234"/>
                  <a:pt x="0" y="55962"/>
                </a:cubicBezTo>
                <a:cubicBezTo>
                  <a:pt x="2600805" y="-322915"/>
                  <a:pt x="15545221" y="1311857"/>
                  <a:pt x="18607177" y="2256872"/>
                </a:cubicBezTo>
                <a:cubicBezTo>
                  <a:pt x="18782781" y="3158828"/>
                  <a:pt x="17831364" y="3684199"/>
                  <a:pt x="18006968" y="4586155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3A592B84-4EB3-AB3F-B9AE-7F12195F15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04589" y="715447"/>
            <a:ext cx="2932770" cy="1838519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19" name="CaixaDeTexto 18">
            <a:extLst>
              <a:ext uri="{FF2B5EF4-FFF2-40B4-BE49-F238E27FC236}">
                <a16:creationId xmlns:a16="http://schemas.microsoft.com/office/drawing/2014/main" id="{0B8AC6C7-7B29-B666-44F0-D11779AABC1F}"/>
              </a:ext>
            </a:extLst>
          </p:cNvPr>
          <p:cNvSpPr txBox="1"/>
          <p:nvPr/>
        </p:nvSpPr>
        <p:spPr>
          <a:xfrm>
            <a:off x="6836324" y="1900791"/>
            <a:ext cx="87511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rgbClr val="002060"/>
                </a:solidFill>
              </a:rPr>
              <a:t>LOWER MOUNTING BAR</a:t>
            </a:r>
          </a:p>
        </p:txBody>
      </p:sp>
      <p:cxnSp>
        <p:nvCxnSpPr>
          <p:cNvPr id="13" name="Conector: Angulado 12">
            <a:extLst>
              <a:ext uri="{FF2B5EF4-FFF2-40B4-BE49-F238E27FC236}">
                <a16:creationId xmlns:a16="http://schemas.microsoft.com/office/drawing/2014/main" id="{E7DC11A3-7247-479E-1758-AFDE7165F5FB}"/>
              </a:ext>
            </a:extLst>
          </p:cNvPr>
          <p:cNvCxnSpPr>
            <a:cxnSpLocks/>
            <a:stCxn id="19" idx="0"/>
          </p:cNvCxnSpPr>
          <p:nvPr/>
        </p:nvCxnSpPr>
        <p:spPr>
          <a:xfrm rot="16200000" flipV="1">
            <a:off x="6708996" y="1335905"/>
            <a:ext cx="439570" cy="690202"/>
          </a:xfrm>
          <a:prstGeom prst="bentConnector2">
            <a:avLst/>
          </a:prstGeom>
          <a:ln w="12700">
            <a:solidFill>
              <a:srgbClr val="002060"/>
            </a:solidFill>
            <a:prstDash val="sys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eta: para a Direita 24">
            <a:extLst>
              <a:ext uri="{FF2B5EF4-FFF2-40B4-BE49-F238E27FC236}">
                <a16:creationId xmlns:a16="http://schemas.microsoft.com/office/drawing/2014/main" id="{B305478C-340A-3CE0-6375-6789B9B0BF2C}"/>
              </a:ext>
            </a:extLst>
          </p:cNvPr>
          <p:cNvSpPr/>
          <p:nvPr/>
        </p:nvSpPr>
        <p:spPr>
          <a:xfrm rot="5400000">
            <a:off x="6781297" y="2483613"/>
            <a:ext cx="179354" cy="54587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364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Diagrama, Desenho técnico&#10;&#10;Descrição gerada automaticamente">
            <a:extLst>
              <a:ext uri="{FF2B5EF4-FFF2-40B4-BE49-F238E27FC236}">
                <a16:creationId xmlns:a16="http://schemas.microsoft.com/office/drawing/2014/main" id="{1320389F-2414-0C16-4214-C7F64A0B47C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31964" y="630194"/>
            <a:ext cx="4753840" cy="4457999"/>
          </a:xfrm>
          <a:prstGeom prst="rect">
            <a:avLst/>
          </a:prstGeom>
        </p:spPr>
      </p:pic>
      <p:sp>
        <p:nvSpPr>
          <p:cNvPr id="21" name="Elipse 20">
            <a:extLst>
              <a:ext uri="{FF2B5EF4-FFF2-40B4-BE49-F238E27FC236}">
                <a16:creationId xmlns:a16="http://schemas.microsoft.com/office/drawing/2014/main" id="{90933A79-7EA2-2034-E469-56BA33FDD62B}"/>
              </a:ext>
            </a:extLst>
          </p:cNvPr>
          <p:cNvSpPr/>
          <p:nvPr/>
        </p:nvSpPr>
        <p:spPr>
          <a:xfrm>
            <a:off x="1823710" y="3619625"/>
            <a:ext cx="393000" cy="39300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2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2B75C749-77E5-B780-110D-08B53A714CFC}"/>
              </a:ext>
            </a:extLst>
          </p:cNvPr>
          <p:cNvSpPr txBox="1"/>
          <p:nvPr/>
        </p:nvSpPr>
        <p:spPr>
          <a:xfrm>
            <a:off x="1775152" y="847003"/>
            <a:ext cx="361980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ix the bolt from the </a:t>
            </a:r>
            <a:r>
              <a:rPr lang="en-US" sz="1400" dirty="0">
                <a:solidFill>
                  <a:srgbClr val="B50130"/>
                </a:solidFill>
              </a:rPr>
              <a:t>Lower Plate Set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rough the Heat Recovery Module base frame.</a:t>
            </a:r>
          </a:p>
          <a:p>
            <a:pPr algn="ctr">
              <a:spcAft>
                <a:spcPts val="600"/>
              </a:spcAft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position the plastic washer between the HR base frame and the Lower Plate.</a:t>
            </a:r>
          </a:p>
        </p:txBody>
      </p:sp>
      <p:sp>
        <p:nvSpPr>
          <p:cNvPr id="19" name="Seta: para a Direita 18">
            <a:extLst>
              <a:ext uri="{FF2B5EF4-FFF2-40B4-BE49-F238E27FC236}">
                <a16:creationId xmlns:a16="http://schemas.microsoft.com/office/drawing/2014/main" id="{4D88202D-FEE9-5632-50D1-81FEC6E4B8BA}"/>
              </a:ext>
            </a:extLst>
          </p:cNvPr>
          <p:cNvSpPr/>
          <p:nvPr/>
        </p:nvSpPr>
        <p:spPr>
          <a:xfrm rot="5400000">
            <a:off x="7388110" y="2461669"/>
            <a:ext cx="179354" cy="54587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Triângulo isósceles 9">
            <a:extLst>
              <a:ext uri="{FF2B5EF4-FFF2-40B4-BE49-F238E27FC236}">
                <a16:creationId xmlns:a16="http://schemas.microsoft.com/office/drawing/2014/main" id="{202C829A-3AD0-514F-3A8B-3943387DC4D4}"/>
              </a:ext>
            </a:extLst>
          </p:cNvPr>
          <p:cNvSpPr/>
          <p:nvPr/>
        </p:nvSpPr>
        <p:spPr>
          <a:xfrm rot="10800000" flipH="1">
            <a:off x="2144313" y="862459"/>
            <a:ext cx="4104087" cy="3012658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211029 h 4216543"/>
              <a:gd name="connsiteX1" fmla="*/ -1 w 18414881"/>
              <a:gd name="connsiteY1" fmla="*/ 1 h 4216543"/>
              <a:gd name="connsiteX2" fmla="*/ 18168293 w 18414881"/>
              <a:gd name="connsiteY2" fmla="*/ 1906141 h 4216543"/>
              <a:gd name="connsiteX3" fmla="*/ 18414881 w 18414881"/>
              <a:gd name="connsiteY3" fmla="*/ 4211029 h 4216543"/>
              <a:gd name="connsiteX0" fmla="*/ 18414881 w 18414881"/>
              <a:gd name="connsiteY0" fmla="*/ 4211027 h 4216541"/>
              <a:gd name="connsiteX1" fmla="*/ -1 w 18414881"/>
              <a:gd name="connsiteY1" fmla="*/ -1 h 4216541"/>
              <a:gd name="connsiteX2" fmla="*/ 18168293 w 18414881"/>
              <a:gd name="connsiteY2" fmla="*/ 1906139 h 4216541"/>
              <a:gd name="connsiteX3" fmla="*/ 18414881 w 18414881"/>
              <a:gd name="connsiteY3" fmla="*/ 4211027 h 4216541"/>
              <a:gd name="connsiteX0" fmla="*/ 18414881 w 18414881"/>
              <a:gd name="connsiteY0" fmla="*/ 4211029 h 4211028"/>
              <a:gd name="connsiteX1" fmla="*/ -1 w 18414881"/>
              <a:gd name="connsiteY1" fmla="*/ 1 h 4211028"/>
              <a:gd name="connsiteX2" fmla="*/ 18168293 w 18414881"/>
              <a:gd name="connsiteY2" fmla="*/ 1906141 h 4211028"/>
              <a:gd name="connsiteX3" fmla="*/ 18414881 w 18414881"/>
              <a:gd name="connsiteY3" fmla="*/ 4211029 h 4211028"/>
              <a:gd name="connsiteX0" fmla="*/ 18414881 w 18414881"/>
              <a:gd name="connsiteY0" fmla="*/ 4276049 h 4276050"/>
              <a:gd name="connsiteX1" fmla="*/ -1 w 18414881"/>
              <a:gd name="connsiteY1" fmla="*/ 65021 h 4276050"/>
              <a:gd name="connsiteX2" fmla="*/ 18168293 w 18414881"/>
              <a:gd name="connsiteY2" fmla="*/ 1971161 h 4276050"/>
              <a:gd name="connsiteX3" fmla="*/ 18414881 w 18414881"/>
              <a:gd name="connsiteY3" fmla="*/ 4276049 h 4276050"/>
              <a:gd name="connsiteX0" fmla="*/ 18414881 w 18414881"/>
              <a:gd name="connsiteY0" fmla="*/ 4276049 h 4276048"/>
              <a:gd name="connsiteX1" fmla="*/ -1 w 18414881"/>
              <a:gd name="connsiteY1" fmla="*/ 65021 h 4276048"/>
              <a:gd name="connsiteX2" fmla="*/ 18168293 w 18414881"/>
              <a:gd name="connsiteY2" fmla="*/ 1971161 h 4276048"/>
              <a:gd name="connsiteX3" fmla="*/ 18414881 w 18414881"/>
              <a:gd name="connsiteY3" fmla="*/ 4276049 h 4276048"/>
              <a:gd name="connsiteX0" fmla="*/ 17993553 w 17993553"/>
              <a:gd name="connsiteY0" fmla="*/ 4582666 h 4582667"/>
              <a:gd name="connsiteX1" fmla="*/ 0 w 17993553"/>
              <a:gd name="connsiteY1" fmla="*/ 54507 h 4582667"/>
              <a:gd name="connsiteX2" fmla="*/ 17746965 w 17993553"/>
              <a:gd name="connsiteY2" fmla="*/ 2277778 h 4582667"/>
              <a:gd name="connsiteX3" fmla="*/ 17993553 w 17993553"/>
              <a:gd name="connsiteY3" fmla="*/ 4582666 h 4582667"/>
              <a:gd name="connsiteX0" fmla="*/ 17645957 w 17645957"/>
              <a:gd name="connsiteY0" fmla="*/ 4624190 h 4624189"/>
              <a:gd name="connsiteX1" fmla="*/ 0 w 17645957"/>
              <a:gd name="connsiteY1" fmla="*/ 53340 h 4624189"/>
              <a:gd name="connsiteX2" fmla="*/ 17399369 w 17645957"/>
              <a:gd name="connsiteY2" fmla="*/ 2319302 h 4624189"/>
              <a:gd name="connsiteX3" fmla="*/ 17645957 w 17645957"/>
              <a:gd name="connsiteY3" fmla="*/ 4624190 h 4624189"/>
              <a:gd name="connsiteX0" fmla="*/ 17645957 w 17645957"/>
              <a:gd name="connsiteY0" fmla="*/ 4624190 h 4624191"/>
              <a:gd name="connsiteX1" fmla="*/ 0 w 17645957"/>
              <a:gd name="connsiteY1" fmla="*/ 53340 h 4624191"/>
              <a:gd name="connsiteX2" fmla="*/ 17399369 w 17645957"/>
              <a:gd name="connsiteY2" fmla="*/ 2319302 h 4624191"/>
              <a:gd name="connsiteX3" fmla="*/ 17645957 w 17645957"/>
              <a:gd name="connsiteY3" fmla="*/ 4624190 h 4624191"/>
              <a:gd name="connsiteX0" fmla="*/ 17645957 w 17645957"/>
              <a:gd name="connsiteY0" fmla="*/ 4625651 h 4625651"/>
              <a:gd name="connsiteX1" fmla="*/ 0 w 17645957"/>
              <a:gd name="connsiteY1" fmla="*/ 54801 h 4625651"/>
              <a:gd name="connsiteX2" fmla="*/ 17399369 w 17645957"/>
              <a:gd name="connsiteY2" fmla="*/ 2320763 h 4625651"/>
              <a:gd name="connsiteX3" fmla="*/ 17645957 w 17645957"/>
              <a:gd name="connsiteY3" fmla="*/ 4625651 h 4625651"/>
              <a:gd name="connsiteX0" fmla="*/ 16943743 w 17424544"/>
              <a:gd name="connsiteY0" fmla="*/ 4503680 h 4503679"/>
              <a:gd name="connsiteX1" fmla="*/ 0 w 17424544"/>
              <a:gd name="connsiteY1" fmla="*/ 54803 h 4503679"/>
              <a:gd name="connsiteX2" fmla="*/ 17399369 w 17424544"/>
              <a:gd name="connsiteY2" fmla="*/ 2320765 h 4503679"/>
              <a:gd name="connsiteX3" fmla="*/ 16943743 w 17424544"/>
              <a:gd name="connsiteY3" fmla="*/ 4503680 h 4503679"/>
              <a:gd name="connsiteX0" fmla="*/ 16943743 w 17424544"/>
              <a:gd name="connsiteY0" fmla="*/ 4503680 h 4503681"/>
              <a:gd name="connsiteX1" fmla="*/ 0 w 17424544"/>
              <a:gd name="connsiteY1" fmla="*/ 54803 h 4503681"/>
              <a:gd name="connsiteX2" fmla="*/ 17399369 w 17424544"/>
              <a:gd name="connsiteY2" fmla="*/ 2320765 h 4503681"/>
              <a:gd name="connsiteX3" fmla="*/ 16943743 w 17424544"/>
              <a:gd name="connsiteY3" fmla="*/ 4503680 h 4503681"/>
              <a:gd name="connsiteX0" fmla="*/ 16943743 w 18618036"/>
              <a:gd name="connsiteY0" fmla="*/ 4505516 h 4505515"/>
              <a:gd name="connsiteX1" fmla="*/ 0 w 18618036"/>
              <a:gd name="connsiteY1" fmla="*/ 56639 h 4505515"/>
              <a:gd name="connsiteX2" fmla="*/ 18607177 w 18618036"/>
              <a:gd name="connsiteY2" fmla="*/ 2257549 h 4505515"/>
              <a:gd name="connsiteX3" fmla="*/ 16943743 w 18618036"/>
              <a:gd name="connsiteY3" fmla="*/ 4505516 h 4505515"/>
              <a:gd name="connsiteX0" fmla="*/ 16943743 w 18618036"/>
              <a:gd name="connsiteY0" fmla="*/ 4504839 h 4504840"/>
              <a:gd name="connsiteX1" fmla="*/ 0 w 18618036"/>
              <a:gd name="connsiteY1" fmla="*/ 55962 h 4504840"/>
              <a:gd name="connsiteX2" fmla="*/ 18607177 w 18618036"/>
              <a:gd name="connsiteY2" fmla="*/ 2256872 h 4504840"/>
              <a:gd name="connsiteX3" fmla="*/ 16943743 w 18618036"/>
              <a:gd name="connsiteY3" fmla="*/ 4504839 h 4504840"/>
              <a:gd name="connsiteX0" fmla="*/ 18006968 w 18628914"/>
              <a:gd name="connsiteY0" fmla="*/ 4586155 h 4586155"/>
              <a:gd name="connsiteX1" fmla="*/ 0 w 18628914"/>
              <a:gd name="connsiteY1" fmla="*/ 55962 h 4586155"/>
              <a:gd name="connsiteX2" fmla="*/ 18607177 w 18628914"/>
              <a:gd name="connsiteY2" fmla="*/ 2256872 h 4586155"/>
              <a:gd name="connsiteX3" fmla="*/ 18006968 w 18628914"/>
              <a:gd name="connsiteY3" fmla="*/ 4586155 h 4586155"/>
              <a:gd name="connsiteX0" fmla="*/ 18006968 w 19681258"/>
              <a:gd name="connsiteY0" fmla="*/ 4588169 h 4588169"/>
              <a:gd name="connsiteX1" fmla="*/ 0 w 19681258"/>
              <a:gd name="connsiteY1" fmla="*/ 57976 h 4588169"/>
              <a:gd name="connsiteX2" fmla="*/ 19670398 w 19681258"/>
              <a:gd name="connsiteY2" fmla="*/ 2190582 h 4588169"/>
              <a:gd name="connsiteX3" fmla="*/ 18006968 w 19681258"/>
              <a:gd name="connsiteY3" fmla="*/ 4588169 h 4588169"/>
              <a:gd name="connsiteX0" fmla="*/ 19601801 w 19714298"/>
              <a:gd name="connsiteY0" fmla="*/ 4822358 h 4822358"/>
              <a:gd name="connsiteX1" fmla="*/ 0 w 19714298"/>
              <a:gd name="connsiteY1" fmla="*/ 57976 h 4822358"/>
              <a:gd name="connsiteX2" fmla="*/ 19670398 w 19714298"/>
              <a:gd name="connsiteY2" fmla="*/ 2190582 h 4822358"/>
              <a:gd name="connsiteX3" fmla="*/ 19601801 w 19714298"/>
              <a:gd name="connsiteY3" fmla="*/ 4822358 h 4822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714298" h="4822358">
                <a:moveTo>
                  <a:pt x="19601801" y="4822358"/>
                </a:moveTo>
                <a:cubicBezTo>
                  <a:pt x="16391768" y="2528907"/>
                  <a:pt x="3191450" y="275248"/>
                  <a:pt x="0" y="57976"/>
                </a:cubicBezTo>
                <a:cubicBezTo>
                  <a:pt x="2600805" y="-320901"/>
                  <a:pt x="16608442" y="1245567"/>
                  <a:pt x="19670398" y="2190582"/>
                </a:cubicBezTo>
                <a:cubicBezTo>
                  <a:pt x="19846002" y="3092538"/>
                  <a:pt x="19426197" y="3920402"/>
                  <a:pt x="19601801" y="4822358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613ACF8A-B595-F252-2846-ADDCDF3399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r="11753"/>
          <a:stretch/>
        </p:blipFill>
        <p:spPr>
          <a:xfrm>
            <a:off x="6022564" y="755563"/>
            <a:ext cx="2910446" cy="1833738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14BD8AB5-F646-592C-AF7E-004AA59BC30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rcRect r="11753"/>
          <a:stretch/>
        </p:blipFill>
        <p:spPr>
          <a:xfrm>
            <a:off x="6022565" y="2879907"/>
            <a:ext cx="2910445" cy="1830777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977A6FAF-2AF8-211C-91F3-DDCC7CF7E8D8}"/>
              </a:ext>
            </a:extLst>
          </p:cNvPr>
          <p:cNvSpPr txBox="1"/>
          <p:nvPr/>
        </p:nvSpPr>
        <p:spPr>
          <a:xfrm>
            <a:off x="5232400" y="3128387"/>
            <a:ext cx="684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defRPr sz="100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dirty="0">
                <a:solidFill>
                  <a:srgbClr val="002060"/>
                </a:solidFill>
                <a:effectLst/>
              </a:rPr>
              <a:t>PLASTIC WASHER</a:t>
            </a:r>
          </a:p>
        </p:txBody>
      </p:sp>
      <p:cxnSp>
        <p:nvCxnSpPr>
          <p:cNvPr id="24" name="Conector: Angulado 23">
            <a:extLst>
              <a:ext uri="{FF2B5EF4-FFF2-40B4-BE49-F238E27FC236}">
                <a16:creationId xmlns:a16="http://schemas.microsoft.com/office/drawing/2014/main" id="{79F99C2F-8913-1DFF-8CF2-6E5D80002941}"/>
              </a:ext>
            </a:extLst>
          </p:cNvPr>
          <p:cNvCxnSpPr>
            <a:cxnSpLocks/>
            <a:stCxn id="23" idx="3"/>
          </p:cNvCxnSpPr>
          <p:nvPr/>
        </p:nvCxnSpPr>
        <p:spPr>
          <a:xfrm>
            <a:off x="5916425" y="3328442"/>
            <a:ext cx="1632664" cy="291183"/>
          </a:xfrm>
          <a:prstGeom prst="bentConnector3">
            <a:avLst>
              <a:gd name="adj1" fmla="val 99784"/>
            </a:avLst>
          </a:prstGeom>
          <a:ln w="12700">
            <a:solidFill>
              <a:srgbClr val="002060"/>
            </a:solidFill>
            <a:prstDash val="sys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Imagem 33" descr="Diagrama, Desenho técnico&#10;&#10;Descrição gerada automaticamente">
            <a:extLst>
              <a:ext uri="{FF2B5EF4-FFF2-40B4-BE49-F238E27FC236}">
                <a16:creationId xmlns:a16="http://schemas.microsoft.com/office/drawing/2014/main" id="{039A9831-4234-C8BE-96D9-6D33D85DA37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00"/>
              </a:clrFrom>
              <a:clrTo>
                <a:srgbClr val="FFFF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32372" y="3939953"/>
            <a:ext cx="1330639" cy="1106017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F64EEA60-8362-0435-72CC-EEEBFCCFBD71}"/>
              </a:ext>
            </a:extLst>
          </p:cNvPr>
          <p:cNvSpPr txBox="1"/>
          <p:nvPr/>
        </p:nvSpPr>
        <p:spPr>
          <a:xfrm>
            <a:off x="4183630" y="3900460"/>
            <a:ext cx="5532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>
                <a:solidFill>
                  <a:srgbClr val="B50130"/>
                </a:solidFill>
              </a:rPr>
              <a:t>Lower Plate Set</a:t>
            </a:r>
            <a:endParaRPr lang="en-GB" sz="1000" dirty="0">
              <a:solidFill>
                <a:srgbClr val="B50130"/>
              </a:solidFill>
            </a:endParaRPr>
          </a:p>
        </p:txBody>
      </p:sp>
      <p:cxnSp>
        <p:nvCxnSpPr>
          <p:cNvPr id="40" name="Conector: Angulado 39">
            <a:extLst>
              <a:ext uri="{FF2B5EF4-FFF2-40B4-BE49-F238E27FC236}">
                <a16:creationId xmlns:a16="http://schemas.microsoft.com/office/drawing/2014/main" id="{96925500-6E3E-0B43-CECC-D38CC3CB5DD7}"/>
              </a:ext>
            </a:extLst>
          </p:cNvPr>
          <p:cNvCxnSpPr>
            <a:cxnSpLocks/>
            <a:stCxn id="23" idx="1"/>
          </p:cNvCxnSpPr>
          <p:nvPr/>
        </p:nvCxnSpPr>
        <p:spPr>
          <a:xfrm rot="10800000" flipV="1">
            <a:off x="4785640" y="3328442"/>
            <a:ext cx="446760" cy="1106016"/>
          </a:xfrm>
          <a:prstGeom prst="bentConnector2">
            <a:avLst/>
          </a:prstGeom>
          <a:ln w="12700">
            <a:solidFill>
              <a:srgbClr val="002060"/>
            </a:solidFill>
            <a:prstDash val="sys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741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Diagrama&#10;&#10;Descrição gerada automaticamente">
            <a:extLst>
              <a:ext uri="{FF2B5EF4-FFF2-40B4-BE49-F238E27FC236}">
                <a16:creationId xmlns:a16="http://schemas.microsoft.com/office/drawing/2014/main" id="{0F15E010-BD7D-1352-0AD3-F04309FF320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t="1" r="1968" b="2582"/>
          <a:stretch/>
        </p:blipFill>
        <p:spPr>
          <a:xfrm>
            <a:off x="6226836" y="3171914"/>
            <a:ext cx="2695276" cy="1483632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9" name="Forma Livre: Forma 8">
            <a:extLst>
              <a:ext uri="{FF2B5EF4-FFF2-40B4-BE49-F238E27FC236}">
                <a16:creationId xmlns:a16="http://schemas.microsoft.com/office/drawing/2014/main" id="{1F901C31-75F0-8EFD-3211-1881844D0793}"/>
              </a:ext>
            </a:extLst>
          </p:cNvPr>
          <p:cNvSpPr/>
          <p:nvPr/>
        </p:nvSpPr>
        <p:spPr>
          <a:xfrm>
            <a:off x="6976765" y="3718833"/>
            <a:ext cx="235625" cy="352353"/>
          </a:xfrm>
          <a:custGeom>
            <a:avLst/>
            <a:gdLst>
              <a:gd name="connsiteX0" fmla="*/ 148590 w 154305"/>
              <a:gd name="connsiteY0" fmla="*/ 0 h 367665"/>
              <a:gd name="connsiteX1" fmla="*/ 0 w 154305"/>
              <a:gd name="connsiteY1" fmla="*/ 70485 h 367665"/>
              <a:gd name="connsiteX2" fmla="*/ 19050 w 154305"/>
              <a:gd name="connsiteY2" fmla="*/ 367665 h 367665"/>
              <a:gd name="connsiteX3" fmla="*/ 154305 w 154305"/>
              <a:gd name="connsiteY3" fmla="*/ 300990 h 367665"/>
              <a:gd name="connsiteX0" fmla="*/ 184040 w 189755"/>
              <a:gd name="connsiteY0" fmla="*/ 0 h 367665"/>
              <a:gd name="connsiteX1" fmla="*/ 35450 w 189755"/>
              <a:gd name="connsiteY1" fmla="*/ 70485 h 367665"/>
              <a:gd name="connsiteX2" fmla="*/ 54500 w 189755"/>
              <a:gd name="connsiteY2" fmla="*/ 367665 h 367665"/>
              <a:gd name="connsiteX3" fmla="*/ 189755 w 189755"/>
              <a:gd name="connsiteY3" fmla="*/ 300990 h 367665"/>
              <a:gd name="connsiteX0" fmla="*/ 210062 w 215777"/>
              <a:gd name="connsiteY0" fmla="*/ 0 h 374916"/>
              <a:gd name="connsiteX1" fmla="*/ 61472 w 215777"/>
              <a:gd name="connsiteY1" fmla="*/ 70485 h 374916"/>
              <a:gd name="connsiteX2" fmla="*/ 80522 w 215777"/>
              <a:gd name="connsiteY2" fmla="*/ 367665 h 374916"/>
              <a:gd name="connsiteX3" fmla="*/ 215777 w 215777"/>
              <a:gd name="connsiteY3" fmla="*/ 300990 h 374916"/>
              <a:gd name="connsiteX0" fmla="*/ 224818 w 230533"/>
              <a:gd name="connsiteY0" fmla="*/ 0 h 374336"/>
              <a:gd name="connsiteX1" fmla="*/ 76228 w 230533"/>
              <a:gd name="connsiteY1" fmla="*/ 70485 h 374336"/>
              <a:gd name="connsiteX2" fmla="*/ 95278 w 230533"/>
              <a:gd name="connsiteY2" fmla="*/ 367665 h 374336"/>
              <a:gd name="connsiteX3" fmla="*/ 230533 w 230533"/>
              <a:gd name="connsiteY3" fmla="*/ 300990 h 374336"/>
              <a:gd name="connsiteX0" fmla="*/ 245507 w 251222"/>
              <a:gd name="connsiteY0" fmla="*/ 0 h 375601"/>
              <a:gd name="connsiteX1" fmla="*/ 96917 w 251222"/>
              <a:gd name="connsiteY1" fmla="*/ 70485 h 375601"/>
              <a:gd name="connsiteX2" fmla="*/ 115967 w 251222"/>
              <a:gd name="connsiteY2" fmla="*/ 367665 h 375601"/>
              <a:gd name="connsiteX3" fmla="*/ 251222 w 251222"/>
              <a:gd name="connsiteY3" fmla="*/ 300990 h 375601"/>
              <a:gd name="connsiteX0" fmla="*/ 250558 w 256273"/>
              <a:gd name="connsiteY0" fmla="*/ 0 h 371370"/>
              <a:gd name="connsiteX1" fmla="*/ 101968 w 256273"/>
              <a:gd name="connsiteY1" fmla="*/ 70485 h 371370"/>
              <a:gd name="connsiteX2" fmla="*/ 121018 w 256273"/>
              <a:gd name="connsiteY2" fmla="*/ 367665 h 371370"/>
              <a:gd name="connsiteX3" fmla="*/ 256273 w 256273"/>
              <a:gd name="connsiteY3" fmla="*/ 300990 h 371370"/>
              <a:gd name="connsiteX0" fmla="*/ 246222 w 251937"/>
              <a:gd name="connsiteY0" fmla="*/ 0 h 373150"/>
              <a:gd name="connsiteX1" fmla="*/ 97632 w 251937"/>
              <a:gd name="connsiteY1" fmla="*/ 70485 h 373150"/>
              <a:gd name="connsiteX2" fmla="*/ 116682 w 251937"/>
              <a:gd name="connsiteY2" fmla="*/ 367665 h 373150"/>
              <a:gd name="connsiteX3" fmla="*/ 251937 w 251937"/>
              <a:gd name="connsiteY3" fmla="*/ 300990 h 373150"/>
              <a:gd name="connsiteX0" fmla="*/ 248370 w 254085"/>
              <a:gd name="connsiteY0" fmla="*/ 0 h 373023"/>
              <a:gd name="connsiteX1" fmla="*/ 99780 w 254085"/>
              <a:gd name="connsiteY1" fmla="*/ 70485 h 373023"/>
              <a:gd name="connsiteX2" fmla="*/ 118830 w 254085"/>
              <a:gd name="connsiteY2" fmla="*/ 367665 h 373023"/>
              <a:gd name="connsiteX3" fmla="*/ 254085 w 254085"/>
              <a:gd name="connsiteY3" fmla="*/ 300990 h 373023"/>
              <a:gd name="connsiteX0" fmla="*/ 247653 w 253368"/>
              <a:gd name="connsiteY0" fmla="*/ 0 h 373803"/>
              <a:gd name="connsiteX1" fmla="*/ 99063 w 253368"/>
              <a:gd name="connsiteY1" fmla="*/ 70485 h 373803"/>
              <a:gd name="connsiteX2" fmla="*/ 118113 w 253368"/>
              <a:gd name="connsiteY2" fmla="*/ 367665 h 373803"/>
              <a:gd name="connsiteX3" fmla="*/ 253368 w 253368"/>
              <a:gd name="connsiteY3" fmla="*/ 300990 h 373803"/>
              <a:gd name="connsiteX0" fmla="*/ 239985 w 245700"/>
              <a:gd name="connsiteY0" fmla="*/ 0 h 372212"/>
              <a:gd name="connsiteX1" fmla="*/ 91395 w 245700"/>
              <a:gd name="connsiteY1" fmla="*/ 70485 h 372212"/>
              <a:gd name="connsiteX2" fmla="*/ 110445 w 245700"/>
              <a:gd name="connsiteY2" fmla="*/ 367665 h 372212"/>
              <a:gd name="connsiteX3" fmla="*/ 245700 w 245700"/>
              <a:gd name="connsiteY3" fmla="*/ 300990 h 372212"/>
              <a:gd name="connsiteX0" fmla="*/ 244826 w 250541"/>
              <a:gd name="connsiteY0" fmla="*/ 0 h 374658"/>
              <a:gd name="connsiteX1" fmla="*/ 96236 w 250541"/>
              <a:gd name="connsiteY1" fmla="*/ 70485 h 374658"/>
              <a:gd name="connsiteX2" fmla="*/ 115286 w 250541"/>
              <a:gd name="connsiteY2" fmla="*/ 367665 h 374658"/>
              <a:gd name="connsiteX3" fmla="*/ 250541 w 250541"/>
              <a:gd name="connsiteY3" fmla="*/ 300990 h 37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0541" h="374658">
                <a:moveTo>
                  <a:pt x="244826" y="0"/>
                </a:moveTo>
                <a:lnTo>
                  <a:pt x="96236" y="70485"/>
                </a:lnTo>
                <a:cubicBezTo>
                  <a:pt x="-30764" y="173355"/>
                  <a:pt x="-39654" y="419100"/>
                  <a:pt x="115286" y="367665"/>
                </a:cubicBezTo>
                <a:lnTo>
                  <a:pt x="250541" y="300990"/>
                </a:lnTo>
              </a:path>
            </a:pathLst>
          </a:custGeom>
          <a:noFill/>
          <a:ln w="15875" cap="rnd">
            <a:solidFill>
              <a:srgbClr val="FFC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53E7561-7F3A-61D0-E1B8-BFC01A4BCE2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44241"/>
          <a:stretch/>
        </p:blipFill>
        <p:spPr>
          <a:xfrm>
            <a:off x="312580" y="630194"/>
            <a:ext cx="3327298" cy="232492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3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13" name="Imagem 12" descr="Uma imagem contendo Diagrama&#10;&#10;Descrição gerada automaticamente">
            <a:extLst>
              <a:ext uri="{FF2B5EF4-FFF2-40B4-BE49-F238E27FC236}">
                <a16:creationId xmlns:a16="http://schemas.microsoft.com/office/drawing/2014/main" id="{B3DE91E0-12E9-2B44-0874-19F7D9D77D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r="1968" b="2699"/>
          <a:stretch/>
        </p:blipFill>
        <p:spPr>
          <a:xfrm>
            <a:off x="3224361" y="3171914"/>
            <a:ext cx="2695276" cy="1483632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246026B1-5D6F-4843-D5B1-22FE6E1B6DBB}"/>
              </a:ext>
            </a:extLst>
          </p:cNvPr>
          <p:cNvSpPr/>
          <p:nvPr/>
        </p:nvSpPr>
        <p:spPr>
          <a:xfrm>
            <a:off x="2216391" y="1655982"/>
            <a:ext cx="372703" cy="372703"/>
          </a:xfrm>
          <a:prstGeom prst="ellipse">
            <a:avLst/>
          </a:prstGeom>
          <a:noFill/>
          <a:ln>
            <a:solidFill>
              <a:srgbClr val="8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BBDA0BEE-3521-9099-7E9D-656A1703DE55}"/>
              </a:ext>
            </a:extLst>
          </p:cNvPr>
          <p:cNvSpPr txBox="1"/>
          <p:nvPr/>
        </p:nvSpPr>
        <p:spPr>
          <a:xfrm>
            <a:off x="6149687" y="3188505"/>
            <a:ext cx="7790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OFTOP LIFTING LUG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38638A46-83C1-AB66-785F-7CD16B0EA8FD}"/>
              </a:ext>
            </a:extLst>
          </p:cNvPr>
          <p:cNvSpPr txBox="1"/>
          <p:nvPr/>
        </p:nvSpPr>
        <p:spPr>
          <a:xfrm>
            <a:off x="7478845" y="4304038"/>
            <a:ext cx="8751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000" dirty="0">
                <a:solidFill>
                  <a:srgbClr val="002060"/>
                </a:solidFill>
              </a:rPr>
              <a:t>T-PLATE</a:t>
            </a:r>
          </a:p>
        </p:txBody>
      </p: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F714FAAA-178C-0B13-ECF6-A8122E3C1D71}"/>
              </a:ext>
            </a:extLst>
          </p:cNvPr>
          <p:cNvCxnSpPr>
            <a:cxnSpLocks/>
            <a:stCxn id="28" idx="0"/>
          </p:cNvCxnSpPr>
          <p:nvPr/>
        </p:nvCxnSpPr>
        <p:spPr>
          <a:xfrm rot="16200000" flipV="1">
            <a:off x="7409214" y="3796848"/>
            <a:ext cx="440246" cy="574133"/>
          </a:xfrm>
          <a:prstGeom prst="bentConnector2">
            <a:avLst/>
          </a:prstGeom>
          <a:ln w="12700">
            <a:solidFill>
              <a:srgbClr val="002060"/>
            </a:solidFill>
            <a:prstDash val="sys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EF81FAF3-30B5-FD7C-F439-686CDC7670EE}"/>
              </a:ext>
            </a:extLst>
          </p:cNvPr>
          <p:cNvCxnSpPr>
            <a:cxnSpLocks/>
            <a:stCxn id="26" idx="2"/>
          </p:cNvCxnSpPr>
          <p:nvPr/>
        </p:nvCxnSpPr>
        <p:spPr>
          <a:xfrm rot="16200000" flipH="1">
            <a:off x="6668040" y="3613670"/>
            <a:ext cx="179895" cy="437559"/>
          </a:xfrm>
          <a:prstGeom prst="bentConnector2">
            <a:avLst/>
          </a:prstGeom>
          <a:ln w="12700">
            <a:solidFill>
              <a:srgbClr val="FFC000"/>
            </a:solidFill>
            <a:prstDash val="sysDash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 descr="Ícone&#10;&#10;Descrição gerada automaticamente">
            <a:extLst>
              <a:ext uri="{FF2B5EF4-FFF2-40B4-BE49-F238E27FC236}">
                <a16:creationId xmlns:a16="http://schemas.microsoft.com/office/drawing/2014/main" id="{1F4A4586-B550-4FD5-F8E5-1D3A4858784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84188" y="608299"/>
            <a:ext cx="2196972" cy="2304858"/>
          </a:xfrm>
          <a:prstGeom prst="rect">
            <a:avLst/>
          </a:prstGeom>
        </p:spPr>
      </p:pic>
      <p:sp>
        <p:nvSpPr>
          <p:cNvPr id="27" name="CaixaDeTexto 26">
            <a:extLst>
              <a:ext uri="{FF2B5EF4-FFF2-40B4-BE49-F238E27FC236}">
                <a16:creationId xmlns:a16="http://schemas.microsoft.com/office/drawing/2014/main" id="{273C7EAC-7E9E-5025-C8C6-BB8CB3BB05AA}"/>
              </a:ext>
            </a:extLst>
          </p:cNvPr>
          <p:cNvSpPr txBox="1"/>
          <p:nvPr/>
        </p:nvSpPr>
        <p:spPr>
          <a:xfrm>
            <a:off x="3845011" y="1391396"/>
            <a:ext cx="25340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lide the </a:t>
            </a:r>
            <a:r>
              <a:rPr lang="en-US" sz="1400" dirty="0">
                <a:solidFill>
                  <a:srgbClr val="B50130"/>
                </a:solidFill>
              </a:rPr>
              <a:t>T-plate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into the Rooftop lifting lug.</a:t>
            </a:r>
          </a:p>
        </p:txBody>
      </p:sp>
      <p:sp>
        <p:nvSpPr>
          <p:cNvPr id="31" name="Seta: para a Direita 30">
            <a:extLst>
              <a:ext uri="{FF2B5EF4-FFF2-40B4-BE49-F238E27FC236}">
                <a16:creationId xmlns:a16="http://schemas.microsoft.com/office/drawing/2014/main" id="{2286CF00-F22A-5D70-270E-5F3008514F26}"/>
              </a:ext>
            </a:extLst>
          </p:cNvPr>
          <p:cNvSpPr/>
          <p:nvPr/>
        </p:nvSpPr>
        <p:spPr>
          <a:xfrm>
            <a:off x="5996785" y="3681049"/>
            <a:ext cx="152902" cy="465362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2" name="Seta: para a Direita 31">
            <a:extLst>
              <a:ext uri="{FF2B5EF4-FFF2-40B4-BE49-F238E27FC236}">
                <a16:creationId xmlns:a16="http://schemas.microsoft.com/office/drawing/2014/main" id="{5AB0497A-F70E-C7CB-D67E-67375691F0A0}"/>
              </a:ext>
            </a:extLst>
          </p:cNvPr>
          <p:cNvSpPr/>
          <p:nvPr/>
        </p:nvSpPr>
        <p:spPr>
          <a:xfrm>
            <a:off x="2994311" y="3681049"/>
            <a:ext cx="152902" cy="465362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Triângulo isósceles 9">
            <a:extLst>
              <a:ext uri="{FF2B5EF4-FFF2-40B4-BE49-F238E27FC236}">
                <a16:creationId xmlns:a16="http://schemas.microsoft.com/office/drawing/2014/main" id="{64F420C5-9431-7629-309E-7C37FF128691}"/>
              </a:ext>
            </a:extLst>
          </p:cNvPr>
          <p:cNvSpPr/>
          <p:nvPr/>
        </p:nvSpPr>
        <p:spPr>
          <a:xfrm>
            <a:off x="847634" y="1877478"/>
            <a:ext cx="1514826" cy="1475849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211029 h 4216543"/>
              <a:gd name="connsiteX1" fmla="*/ -1 w 18414881"/>
              <a:gd name="connsiteY1" fmla="*/ 1 h 4216543"/>
              <a:gd name="connsiteX2" fmla="*/ 18168293 w 18414881"/>
              <a:gd name="connsiteY2" fmla="*/ 1906141 h 4216543"/>
              <a:gd name="connsiteX3" fmla="*/ 18414881 w 18414881"/>
              <a:gd name="connsiteY3" fmla="*/ 4211029 h 4216543"/>
              <a:gd name="connsiteX0" fmla="*/ 18414881 w 18414881"/>
              <a:gd name="connsiteY0" fmla="*/ 4211027 h 4216541"/>
              <a:gd name="connsiteX1" fmla="*/ -1 w 18414881"/>
              <a:gd name="connsiteY1" fmla="*/ -1 h 4216541"/>
              <a:gd name="connsiteX2" fmla="*/ 18168293 w 18414881"/>
              <a:gd name="connsiteY2" fmla="*/ 1906139 h 4216541"/>
              <a:gd name="connsiteX3" fmla="*/ 18414881 w 18414881"/>
              <a:gd name="connsiteY3" fmla="*/ 4211027 h 4216541"/>
              <a:gd name="connsiteX0" fmla="*/ 18414881 w 18414881"/>
              <a:gd name="connsiteY0" fmla="*/ 4211029 h 4211028"/>
              <a:gd name="connsiteX1" fmla="*/ -1 w 18414881"/>
              <a:gd name="connsiteY1" fmla="*/ 1 h 4211028"/>
              <a:gd name="connsiteX2" fmla="*/ 18168293 w 18414881"/>
              <a:gd name="connsiteY2" fmla="*/ 1906141 h 4211028"/>
              <a:gd name="connsiteX3" fmla="*/ 18414881 w 18414881"/>
              <a:gd name="connsiteY3" fmla="*/ 4211029 h 4211028"/>
              <a:gd name="connsiteX0" fmla="*/ 18414881 w 18414881"/>
              <a:gd name="connsiteY0" fmla="*/ 4276049 h 4276050"/>
              <a:gd name="connsiteX1" fmla="*/ -1 w 18414881"/>
              <a:gd name="connsiteY1" fmla="*/ 65021 h 4276050"/>
              <a:gd name="connsiteX2" fmla="*/ 18168293 w 18414881"/>
              <a:gd name="connsiteY2" fmla="*/ 1971161 h 4276050"/>
              <a:gd name="connsiteX3" fmla="*/ 18414881 w 18414881"/>
              <a:gd name="connsiteY3" fmla="*/ 4276049 h 4276050"/>
              <a:gd name="connsiteX0" fmla="*/ 18414881 w 18414881"/>
              <a:gd name="connsiteY0" fmla="*/ 4276049 h 4276048"/>
              <a:gd name="connsiteX1" fmla="*/ -1 w 18414881"/>
              <a:gd name="connsiteY1" fmla="*/ 65021 h 4276048"/>
              <a:gd name="connsiteX2" fmla="*/ 18168293 w 18414881"/>
              <a:gd name="connsiteY2" fmla="*/ 1971161 h 4276048"/>
              <a:gd name="connsiteX3" fmla="*/ 18414881 w 18414881"/>
              <a:gd name="connsiteY3" fmla="*/ 4276049 h 4276048"/>
              <a:gd name="connsiteX0" fmla="*/ 17993553 w 17993553"/>
              <a:gd name="connsiteY0" fmla="*/ 4582666 h 4582667"/>
              <a:gd name="connsiteX1" fmla="*/ 0 w 17993553"/>
              <a:gd name="connsiteY1" fmla="*/ 54507 h 4582667"/>
              <a:gd name="connsiteX2" fmla="*/ 17746965 w 17993553"/>
              <a:gd name="connsiteY2" fmla="*/ 2277778 h 4582667"/>
              <a:gd name="connsiteX3" fmla="*/ 17993553 w 17993553"/>
              <a:gd name="connsiteY3" fmla="*/ 4582666 h 4582667"/>
              <a:gd name="connsiteX0" fmla="*/ 17645957 w 17645957"/>
              <a:gd name="connsiteY0" fmla="*/ 4624190 h 4624189"/>
              <a:gd name="connsiteX1" fmla="*/ 0 w 17645957"/>
              <a:gd name="connsiteY1" fmla="*/ 53340 h 4624189"/>
              <a:gd name="connsiteX2" fmla="*/ 17399369 w 17645957"/>
              <a:gd name="connsiteY2" fmla="*/ 2319302 h 4624189"/>
              <a:gd name="connsiteX3" fmla="*/ 17645957 w 17645957"/>
              <a:gd name="connsiteY3" fmla="*/ 4624190 h 4624189"/>
              <a:gd name="connsiteX0" fmla="*/ 17645957 w 17645957"/>
              <a:gd name="connsiteY0" fmla="*/ 4624190 h 4624191"/>
              <a:gd name="connsiteX1" fmla="*/ 0 w 17645957"/>
              <a:gd name="connsiteY1" fmla="*/ 53340 h 4624191"/>
              <a:gd name="connsiteX2" fmla="*/ 17399369 w 17645957"/>
              <a:gd name="connsiteY2" fmla="*/ 2319302 h 4624191"/>
              <a:gd name="connsiteX3" fmla="*/ 17645957 w 17645957"/>
              <a:gd name="connsiteY3" fmla="*/ 4624190 h 4624191"/>
              <a:gd name="connsiteX0" fmla="*/ 17645957 w 17645957"/>
              <a:gd name="connsiteY0" fmla="*/ 4625651 h 4625651"/>
              <a:gd name="connsiteX1" fmla="*/ 0 w 17645957"/>
              <a:gd name="connsiteY1" fmla="*/ 54801 h 4625651"/>
              <a:gd name="connsiteX2" fmla="*/ 17399369 w 17645957"/>
              <a:gd name="connsiteY2" fmla="*/ 2320763 h 4625651"/>
              <a:gd name="connsiteX3" fmla="*/ 17645957 w 17645957"/>
              <a:gd name="connsiteY3" fmla="*/ 4625651 h 4625651"/>
              <a:gd name="connsiteX0" fmla="*/ 16943743 w 17424544"/>
              <a:gd name="connsiteY0" fmla="*/ 4503680 h 4503679"/>
              <a:gd name="connsiteX1" fmla="*/ 0 w 17424544"/>
              <a:gd name="connsiteY1" fmla="*/ 54803 h 4503679"/>
              <a:gd name="connsiteX2" fmla="*/ 17399369 w 17424544"/>
              <a:gd name="connsiteY2" fmla="*/ 2320765 h 4503679"/>
              <a:gd name="connsiteX3" fmla="*/ 16943743 w 17424544"/>
              <a:gd name="connsiteY3" fmla="*/ 4503680 h 4503679"/>
              <a:gd name="connsiteX0" fmla="*/ 16943743 w 17424544"/>
              <a:gd name="connsiteY0" fmla="*/ 4503680 h 4503681"/>
              <a:gd name="connsiteX1" fmla="*/ 0 w 17424544"/>
              <a:gd name="connsiteY1" fmla="*/ 54803 h 4503681"/>
              <a:gd name="connsiteX2" fmla="*/ 17399369 w 17424544"/>
              <a:gd name="connsiteY2" fmla="*/ 2320765 h 4503681"/>
              <a:gd name="connsiteX3" fmla="*/ 16943743 w 17424544"/>
              <a:gd name="connsiteY3" fmla="*/ 4503680 h 4503681"/>
              <a:gd name="connsiteX0" fmla="*/ 16943743 w 18618036"/>
              <a:gd name="connsiteY0" fmla="*/ 4505516 h 4505515"/>
              <a:gd name="connsiteX1" fmla="*/ 0 w 18618036"/>
              <a:gd name="connsiteY1" fmla="*/ 56639 h 4505515"/>
              <a:gd name="connsiteX2" fmla="*/ 18607177 w 18618036"/>
              <a:gd name="connsiteY2" fmla="*/ 2257549 h 4505515"/>
              <a:gd name="connsiteX3" fmla="*/ 16943743 w 18618036"/>
              <a:gd name="connsiteY3" fmla="*/ 4505516 h 4505515"/>
              <a:gd name="connsiteX0" fmla="*/ 16943743 w 18618036"/>
              <a:gd name="connsiteY0" fmla="*/ 4504839 h 4504840"/>
              <a:gd name="connsiteX1" fmla="*/ 0 w 18618036"/>
              <a:gd name="connsiteY1" fmla="*/ 55962 h 4504840"/>
              <a:gd name="connsiteX2" fmla="*/ 18607177 w 18618036"/>
              <a:gd name="connsiteY2" fmla="*/ 2256872 h 4504840"/>
              <a:gd name="connsiteX3" fmla="*/ 16943743 w 18618036"/>
              <a:gd name="connsiteY3" fmla="*/ 4504839 h 4504840"/>
              <a:gd name="connsiteX0" fmla="*/ 18006968 w 18628914"/>
              <a:gd name="connsiteY0" fmla="*/ 4586155 h 4586155"/>
              <a:gd name="connsiteX1" fmla="*/ 0 w 18628914"/>
              <a:gd name="connsiteY1" fmla="*/ 55962 h 4586155"/>
              <a:gd name="connsiteX2" fmla="*/ 18607177 w 18628914"/>
              <a:gd name="connsiteY2" fmla="*/ 2256872 h 4586155"/>
              <a:gd name="connsiteX3" fmla="*/ 18006968 w 18628914"/>
              <a:gd name="connsiteY3" fmla="*/ 4586155 h 4586155"/>
              <a:gd name="connsiteX0" fmla="*/ 422054 w 28885244"/>
              <a:gd name="connsiteY0" fmla="*/ 2390637 h 2533662"/>
              <a:gd name="connsiteX1" fmla="*/ 10277266 w 28885244"/>
              <a:gd name="connsiteY1" fmla="*/ 55962 h 2533662"/>
              <a:gd name="connsiteX2" fmla="*/ 28884443 w 28885244"/>
              <a:gd name="connsiteY2" fmla="*/ 2256872 h 2533662"/>
              <a:gd name="connsiteX3" fmla="*/ 422054 w 28885244"/>
              <a:gd name="connsiteY3" fmla="*/ 2390637 h 2533662"/>
              <a:gd name="connsiteX0" fmla="*/ 422054 w 11030178"/>
              <a:gd name="connsiteY0" fmla="*/ 2390178 h 2547354"/>
              <a:gd name="connsiteX1" fmla="*/ 10277266 w 11030178"/>
              <a:gd name="connsiteY1" fmla="*/ 55503 h 2547354"/>
              <a:gd name="connsiteX2" fmla="*/ 10718795 w 11030178"/>
              <a:gd name="connsiteY2" fmla="*/ 2272677 h 2547354"/>
              <a:gd name="connsiteX3" fmla="*/ 422054 w 11030178"/>
              <a:gd name="connsiteY3" fmla="*/ 2390178 h 2547354"/>
              <a:gd name="connsiteX0" fmla="*/ 422054 w 11772126"/>
              <a:gd name="connsiteY0" fmla="*/ 2381158 h 2538336"/>
              <a:gd name="connsiteX1" fmla="*/ 10277266 w 11772126"/>
              <a:gd name="connsiteY1" fmla="*/ 46483 h 2538336"/>
              <a:gd name="connsiteX2" fmla="*/ 10718795 w 11772126"/>
              <a:gd name="connsiteY2" fmla="*/ 2263657 h 2538336"/>
              <a:gd name="connsiteX3" fmla="*/ 422054 w 11772126"/>
              <a:gd name="connsiteY3" fmla="*/ 2381158 h 2538336"/>
              <a:gd name="connsiteX0" fmla="*/ 422054 w 11772126"/>
              <a:gd name="connsiteY0" fmla="*/ 2381158 h 2381159"/>
              <a:gd name="connsiteX1" fmla="*/ 10277266 w 11772126"/>
              <a:gd name="connsiteY1" fmla="*/ 46483 h 2381159"/>
              <a:gd name="connsiteX2" fmla="*/ 10718795 w 11772126"/>
              <a:gd name="connsiteY2" fmla="*/ 2263657 h 2381159"/>
              <a:gd name="connsiteX3" fmla="*/ 422054 w 11772126"/>
              <a:gd name="connsiteY3" fmla="*/ 2381158 h 2381159"/>
              <a:gd name="connsiteX0" fmla="*/ 1387376 w 12737448"/>
              <a:gd name="connsiteY0" fmla="*/ 2381158 h 2381157"/>
              <a:gd name="connsiteX1" fmla="*/ 1160916 w 12737448"/>
              <a:gd name="connsiteY1" fmla="*/ 1635530 h 2381157"/>
              <a:gd name="connsiteX2" fmla="*/ 11242588 w 12737448"/>
              <a:gd name="connsiteY2" fmla="*/ 46483 h 2381157"/>
              <a:gd name="connsiteX3" fmla="*/ 11684117 w 12737448"/>
              <a:gd name="connsiteY3" fmla="*/ 2263657 h 2381157"/>
              <a:gd name="connsiteX4" fmla="*/ 1387376 w 12737448"/>
              <a:gd name="connsiteY4" fmla="*/ 2381158 h 2381157"/>
              <a:gd name="connsiteX0" fmla="*/ 1387376 w 12737448"/>
              <a:gd name="connsiteY0" fmla="*/ 2381158 h 2381159"/>
              <a:gd name="connsiteX1" fmla="*/ 1160916 w 12737448"/>
              <a:gd name="connsiteY1" fmla="*/ 1635530 h 2381159"/>
              <a:gd name="connsiteX2" fmla="*/ 11242588 w 12737448"/>
              <a:gd name="connsiteY2" fmla="*/ 46483 h 2381159"/>
              <a:gd name="connsiteX3" fmla="*/ 11684117 w 12737448"/>
              <a:gd name="connsiteY3" fmla="*/ 2263657 h 2381159"/>
              <a:gd name="connsiteX4" fmla="*/ 1387376 w 12737448"/>
              <a:gd name="connsiteY4" fmla="*/ 2381158 h 2381159"/>
              <a:gd name="connsiteX0" fmla="*/ 495 w 11350567"/>
              <a:gd name="connsiteY0" fmla="*/ 2381158 h 2381157"/>
              <a:gd name="connsiteX1" fmla="*/ 9855707 w 11350567"/>
              <a:gd name="connsiteY1" fmla="*/ 46483 h 2381157"/>
              <a:gd name="connsiteX2" fmla="*/ 10297236 w 11350567"/>
              <a:gd name="connsiteY2" fmla="*/ 2263657 h 2381157"/>
              <a:gd name="connsiteX3" fmla="*/ 495 w 11350567"/>
              <a:gd name="connsiteY3" fmla="*/ 2381158 h 2381157"/>
              <a:gd name="connsiteX0" fmla="*/ 471 w 11749451"/>
              <a:gd name="connsiteY0" fmla="*/ 2259185 h 2302548"/>
              <a:gd name="connsiteX1" fmla="*/ 10254591 w 11749451"/>
              <a:gd name="connsiteY1" fmla="*/ 46483 h 2302548"/>
              <a:gd name="connsiteX2" fmla="*/ 10696120 w 11749451"/>
              <a:gd name="connsiteY2" fmla="*/ 2263657 h 2302548"/>
              <a:gd name="connsiteX3" fmla="*/ 471 w 11749451"/>
              <a:gd name="connsiteY3" fmla="*/ 2259185 h 2302548"/>
              <a:gd name="connsiteX0" fmla="*/ 411 w 11749391"/>
              <a:gd name="connsiteY0" fmla="*/ 2259185 h 2302550"/>
              <a:gd name="connsiteX1" fmla="*/ 10254531 w 11749391"/>
              <a:gd name="connsiteY1" fmla="*/ 46483 h 2302550"/>
              <a:gd name="connsiteX2" fmla="*/ 10696060 w 11749391"/>
              <a:gd name="connsiteY2" fmla="*/ 2263657 h 2302550"/>
              <a:gd name="connsiteX3" fmla="*/ 411 w 11749391"/>
              <a:gd name="connsiteY3" fmla="*/ 2259185 h 2302550"/>
              <a:gd name="connsiteX0" fmla="*/ 411 w 11144916"/>
              <a:gd name="connsiteY0" fmla="*/ 2212702 h 2256066"/>
              <a:gd name="connsiteX1" fmla="*/ 10254531 w 11144916"/>
              <a:gd name="connsiteY1" fmla="*/ 0 h 2256066"/>
              <a:gd name="connsiteX2" fmla="*/ 10696060 w 11144916"/>
              <a:gd name="connsiteY2" fmla="*/ 2217174 h 2256066"/>
              <a:gd name="connsiteX3" fmla="*/ 411 w 11144916"/>
              <a:gd name="connsiteY3" fmla="*/ 2212702 h 2256066"/>
              <a:gd name="connsiteX0" fmla="*/ 411 w 11133735"/>
              <a:gd name="connsiteY0" fmla="*/ 2338741 h 2382105"/>
              <a:gd name="connsiteX1" fmla="*/ 10223846 w 11133735"/>
              <a:gd name="connsiteY1" fmla="*/ 0 h 2382105"/>
              <a:gd name="connsiteX2" fmla="*/ 10696060 w 11133735"/>
              <a:gd name="connsiteY2" fmla="*/ 2343213 h 2382105"/>
              <a:gd name="connsiteX3" fmla="*/ 411 w 11133735"/>
              <a:gd name="connsiteY3" fmla="*/ 2338741 h 2382105"/>
              <a:gd name="connsiteX0" fmla="*/ 592 w 11133916"/>
              <a:gd name="connsiteY0" fmla="*/ 2338741 h 2382105"/>
              <a:gd name="connsiteX1" fmla="*/ 10224027 w 11133916"/>
              <a:gd name="connsiteY1" fmla="*/ 0 h 2382105"/>
              <a:gd name="connsiteX2" fmla="*/ 10696241 w 11133916"/>
              <a:gd name="connsiteY2" fmla="*/ 2343213 h 2382105"/>
              <a:gd name="connsiteX3" fmla="*/ 592 w 11133916"/>
              <a:gd name="connsiteY3" fmla="*/ 2338741 h 2382105"/>
              <a:gd name="connsiteX0" fmla="*/ 598 w 11092841"/>
              <a:gd name="connsiteY0" fmla="*/ 2346873 h 2390237"/>
              <a:gd name="connsiteX1" fmla="*/ 10101292 w 11092841"/>
              <a:gd name="connsiteY1" fmla="*/ 0 h 2390237"/>
              <a:gd name="connsiteX2" fmla="*/ 10696247 w 11092841"/>
              <a:gd name="connsiteY2" fmla="*/ 2351345 h 2390237"/>
              <a:gd name="connsiteX3" fmla="*/ 598 w 11092841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696247"/>
              <a:gd name="connsiteY0" fmla="*/ 2346873 h 2390237"/>
              <a:gd name="connsiteX1" fmla="*/ 10101292 w 10696247"/>
              <a:gd name="connsiteY1" fmla="*/ 0 h 2390237"/>
              <a:gd name="connsiteX2" fmla="*/ 10696247 w 10696247"/>
              <a:gd name="connsiteY2" fmla="*/ 2351345 h 2390237"/>
              <a:gd name="connsiteX3" fmla="*/ 598 w 10696247"/>
              <a:gd name="connsiteY3" fmla="*/ 2346873 h 2390237"/>
              <a:gd name="connsiteX0" fmla="*/ 598 w 10101292"/>
              <a:gd name="connsiteY0" fmla="*/ 2346873 h 2368933"/>
              <a:gd name="connsiteX1" fmla="*/ 10101292 w 10101292"/>
              <a:gd name="connsiteY1" fmla="*/ 0 h 2368933"/>
              <a:gd name="connsiteX2" fmla="*/ 7658410 w 10101292"/>
              <a:gd name="connsiteY2" fmla="*/ 2326950 h 2368933"/>
              <a:gd name="connsiteX3" fmla="*/ 598 w 10101292"/>
              <a:gd name="connsiteY3" fmla="*/ 2346873 h 2368933"/>
              <a:gd name="connsiteX0" fmla="*/ 701 w 9150153"/>
              <a:gd name="connsiteY0" fmla="*/ 2289953 h 2362389"/>
              <a:gd name="connsiteX1" fmla="*/ 9150153 w 9150153"/>
              <a:gd name="connsiteY1" fmla="*/ 0 h 2362389"/>
              <a:gd name="connsiteX2" fmla="*/ 6707271 w 9150153"/>
              <a:gd name="connsiteY2" fmla="*/ 2326950 h 2362389"/>
              <a:gd name="connsiteX3" fmla="*/ 701 w 9150153"/>
              <a:gd name="connsiteY3" fmla="*/ 2289953 h 2362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153" h="2362389">
                <a:moveTo>
                  <a:pt x="701" y="2289953"/>
                </a:moveTo>
                <a:cubicBezTo>
                  <a:pt x="-72887" y="1920424"/>
                  <a:pt x="5669627" y="336713"/>
                  <a:pt x="9150153" y="0"/>
                </a:cubicBezTo>
                <a:cubicBezTo>
                  <a:pt x="7132835" y="483067"/>
                  <a:pt x="4949437" y="1890158"/>
                  <a:pt x="6707271" y="2326950"/>
                </a:cubicBezTo>
                <a:cubicBezTo>
                  <a:pt x="4796283" y="2460475"/>
                  <a:pt x="2157172" y="2164560"/>
                  <a:pt x="701" y="2289953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540000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1" name="Imagem 10" descr="Uma imagem contendo Diagrama&#10;&#10;Descrição gerada automaticamente">
            <a:extLst>
              <a:ext uri="{FF2B5EF4-FFF2-40B4-BE49-F238E27FC236}">
                <a16:creationId xmlns:a16="http://schemas.microsoft.com/office/drawing/2014/main" id="{4CD5C3CE-C356-D129-4468-3FAB46E4DBA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t="1" r="1968" b="2660"/>
          <a:stretch/>
        </p:blipFill>
        <p:spPr>
          <a:xfrm>
            <a:off x="221887" y="3171914"/>
            <a:ext cx="2695276" cy="1483632"/>
          </a:xfrm>
          <a:prstGeom prst="rect">
            <a:avLst/>
          </a:prstGeom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357746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53E7561-7F3A-61D0-E1B8-BFC01A4BCE2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44241"/>
          <a:stretch/>
        </p:blipFill>
        <p:spPr>
          <a:xfrm>
            <a:off x="312580" y="630194"/>
            <a:ext cx="3327298" cy="232492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4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46026B1-5D6F-4843-D5B1-22FE6E1B6DBB}"/>
              </a:ext>
            </a:extLst>
          </p:cNvPr>
          <p:cNvSpPr/>
          <p:nvPr/>
        </p:nvSpPr>
        <p:spPr>
          <a:xfrm>
            <a:off x="2216391" y="1655982"/>
            <a:ext cx="372703" cy="372703"/>
          </a:xfrm>
          <a:prstGeom prst="ellipse">
            <a:avLst/>
          </a:prstGeom>
          <a:noFill/>
          <a:ln>
            <a:solidFill>
              <a:srgbClr val="8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273C7EAC-7E9E-5025-C8C6-BB8CB3BB05AA}"/>
              </a:ext>
            </a:extLst>
          </p:cNvPr>
          <p:cNvSpPr txBox="1"/>
          <p:nvPr/>
        </p:nvSpPr>
        <p:spPr>
          <a:xfrm>
            <a:off x="3845011" y="1391396"/>
            <a:ext cx="25340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Place the </a:t>
            </a:r>
            <a:r>
              <a:rPr lang="en-US" sz="1400" dirty="0">
                <a:solidFill>
                  <a:srgbClr val="B50130"/>
                </a:solidFill>
              </a:rPr>
              <a:t>U-plate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between the Rooftop and the Recovery Module base frames.</a:t>
            </a:r>
          </a:p>
        </p:txBody>
      </p:sp>
      <p:sp>
        <p:nvSpPr>
          <p:cNvPr id="33" name="Triângulo isósceles 9">
            <a:extLst>
              <a:ext uri="{FF2B5EF4-FFF2-40B4-BE49-F238E27FC236}">
                <a16:creationId xmlns:a16="http://schemas.microsoft.com/office/drawing/2014/main" id="{64F420C5-9431-7629-309E-7C37FF128691}"/>
              </a:ext>
            </a:extLst>
          </p:cNvPr>
          <p:cNvSpPr/>
          <p:nvPr/>
        </p:nvSpPr>
        <p:spPr>
          <a:xfrm>
            <a:off x="1609201" y="1877479"/>
            <a:ext cx="1293715" cy="1581818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211029 h 4216543"/>
              <a:gd name="connsiteX1" fmla="*/ -1 w 18414881"/>
              <a:gd name="connsiteY1" fmla="*/ 1 h 4216543"/>
              <a:gd name="connsiteX2" fmla="*/ 18168293 w 18414881"/>
              <a:gd name="connsiteY2" fmla="*/ 1906141 h 4216543"/>
              <a:gd name="connsiteX3" fmla="*/ 18414881 w 18414881"/>
              <a:gd name="connsiteY3" fmla="*/ 4211029 h 4216543"/>
              <a:gd name="connsiteX0" fmla="*/ 18414881 w 18414881"/>
              <a:gd name="connsiteY0" fmla="*/ 4211027 h 4216541"/>
              <a:gd name="connsiteX1" fmla="*/ -1 w 18414881"/>
              <a:gd name="connsiteY1" fmla="*/ -1 h 4216541"/>
              <a:gd name="connsiteX2" fmla="*/ 18168293 w 18414881"/>
              <a:gd name="connsiteY2" fmla="*/ 1906139 h 4216541"/>
              <a:gd name="connsiteX3" fmla="*/ 18414881 w 18414881"/>
              <a:gd name="connsiteY3" fmla="*/ 4211027 h 4216541"/>
              <a:gd name="connsiteX0" fmla="*/ 18414881 w 18414881"/>
              <a:gd name="connsiteY0" fmla="*/ 4211029 h 4211028"/>
              <a:gd name="connsiteX1" fmla="*/ -1 w 18414881"/>
              <a:gd name="connsiteY1" fmla="*/ 1 h 4211028"/>
              <a:gd name="connsiteX2" fmla="*/ 18168293 w 18414881"/>
              <a:gd name="connsiteY2" fmla="*/ 1906141 h 4211028"/>
              <a:gd name="connsiteX3" fmla="*/ 18414881 w 18414881"/>
              <a:gd name="connsiteY3" fmla="*/ 4211029 h 4211028"/>
              <a:gd name="connsiteX0" fmla="*/ 18414881 w 18414881"/>
              <a:gd name="connsiteY0" fmla="*/ 4276049 h 4276050"/>
              <a:gd name="connsiteX1" fmla="*/ -1 w 18414881"/>
              <a:gd name="connsiteY1" fmla="*/ 65021 h 4276050"/>
              <a:gd name="connsiteX2" fmla="*/ 18168293 w 18414881"/>
              <a:gd name="connsiteY2" fmla="*/ 1971161 h 4276050"/>
              <a:gd name="connsiteX3" fmla="*/ 18414881 w 18414881"/>
              <a:gd name="connsiteY3" fmla="*/ 4276049 h 4276050"/>
              <a:gd name="connsiteX0" fmla="*/ 18414881 w 18414881"/>
              <a:gd name="connsiteY0" fmla="*/ 4276049 h 4276048"/>
              <a:gd name="connsiteX1" fmla="*/ -1 w 18414881"/>
              <a:gd name="connsiteY1" fmla="*/ 65021 h 4276048"/>
              <a:gd name="connsiteX2" fmla="*/ 18168293 w 18414881"/>
              <a:gd name="connsiteY2" fmla="*/ 1971161 h 4276048"/>
              <a:gd name="connsiteX3" fmla="*/ 18414881 w 18414881"/>
              <a:gd name="connsiteY3" fmla="*/ 4276049 h 4276048"/>
              <a:gd name="connsiteX0" fmla="*/ 17993553 w 17993553"/>
              <a:gd name="connsiteY0" fmla="*/ 4582666 h 4582667"/>
              <a:gd name="connsiteX1" fmla="*/ 0 w 17993553"/>
              <a:gd name="connsiteY1" fmla="*/ 54507 h 4582667"/>
              <a:gd name="connsiteX2" fmla="*/ 17746965 w 17993553"/>
              <a:gd name="connsiteY2" fmla="*/ 2277778 h 4582667"/>
              <a:gd name="connsiteX3" fmla="*/ 17993553 w 17993553"/>
              <a:gd name="connsiteY3" fmla="*/ 4582666 h 4582667"/>
              <a:gd name="connsiteX0" fmla="*/ 17645957 w 17645957"/>
              <a:gd name="connsiteY0" fmla="*/ 4624190 h 4624189"/>
              <a:gd name="connsiteX1" fmla="*/ 0 w 17645957"/>
              <a:gd name="connsiteY1" fmla="*/ 53340 h 4624189"/>
              <a:gd name="connsiteX2" fmla="*/ 17399369 w 17645957"/>
              <a:gd name="connsiteY2" fmla="*/ 2319302 h 4624189"/>
              <a:gd name="connsiteX3" fmla="*/ 17645957 w 17645957"/>
              <a:gd name="connsiteY3" fmla="*/ 4624190 h 4624189"/>
              <a:gd name="connsiteX0" fmla="*/ 17645957 w 17645957"/>
              <a:gd name="connsiteY0" fmla="*/ 4624190 h 4624191"/>
              <a:gd name="connsiteX1" fmla="*/ 0 w 17645957"/>
              <a:gd name="connsiteY1" fmla="*/ 53340 h 4624191"/>
              <a:gd name="connsiteX2" fmla="*/ 17399369 w 17645957"/>
              <a:gd name="connsiteY2" fmla="*/ 2319302 h 4624191"/>
              <a:gd name="connsiteX3" fmla="*/ 17645957 w 17645957"/>
              <a:gd name="connsiteY3" fmla="*/ 4624190 h 4624191"/>
              <a:gd name="connsiteX0" fmla="*/ 17645957 w 17645957"/>
              <a:gd name="connsiteY0" fmla="*/ 4625651 h 4625651"/>
              <a:gd name="connsiteX1" fmla="*/ 0 w 17645957"/>
              <a:gd name="connsiteY1" fmla="*/ 54801 h 4625651"/>
              <a:gd name="connsiteX2" fmla="*/ 17399369 w 17645957"/>
              <a:gd name="connsiteY2" fmla="*/ 2320763 h 4625651"/>
              <a:gd name="connsiteX3" fmla="*/ 17645957 w 17645957"/>
              <a:gd name="connsiteY3" fmla="*/ 4625651 h 4625651"/>
              <a:gd name="connsiteX0" fmla="*/ 16943743 w 17424544"/>
              <a:gd name="connsiteY0" fmla="*/ 4503680 h 4503679"/>
              <a:gd name="connsiteX1" fmla="*/ 0 w 17424544"/>
              <a:gd name="connsiteY1" fmla="*/ 54803 h 4503679"/>
              <a:gd name="connsiteX2" fmla="*/ 17399369 w 17424544"/>
              <a:gd name="connsiteY2" fmla="*/ 2320765 h 4503679"/>
              <a:gd name="connsiteX3" fmla="*/ 16943743 w 17424544"/>
              <a:gd name="connsiteY3" fmla="*/ 4503680 h 4503679"/>
              <a:gd name="connsiteX0" fmla="*/ 16943743 w 17424544"/>
              <a:gd name="connsiteY0" fmla="*/ 4503680 h 4503681"/>
              <a:gd name="connsiteX1" fmla="*/ 0 w 17424544"/>
              <a:gd name="connsiteY1" fmla="*/ 54803 h 4503681"/>
              <a:gd name="connsiteX2" fmla="*/ 17399369 w 17424544"/>
              <a:gd name="connsiteY2" fmla="*/ 2320765 h 4503681"/>
              <a:gd name="connsiteX3" fmla="*/ 16943743 w 17424544"/>
              <a:gd name="connsiteY3" fmla="*/ 4503680 h 4503681"/>
              <a:gd name="connsiteX0" fmla="*/ 16943743 w 18618036"/>
              <a:gd name="connsiteY0" fmla="*/ 4505516 h 4505515"/>
              <a:gd name="connsiteX1" fmla="*/ 0 w 18618036"/>
              <a:gd name="connsiteY1" fmla="*/ 56639 h 4505515"/>
              <a:gd name="connsiteX2" fmla="*/ 18607177 w 18618036"/>
              <a:gd name="connsiteY2" fmla="*/ 2257549 h 4505515"/>
              <a:gd name="connsiteX3" fmla="*/ 16943743 w 18618036"/>
              <a:gd name="connsiteY3" fmla="*/ 4505516 h 4505515"/>
              <a:gd name="connsiteX0" fmla="*/ 16943743 w 18618036"/>
              <a:gd name="connsiteY0" fmla="*/ 4504839 h 4504840"/>
              <a:gd name="connsiteX1" fmla="*/ 0 w 18618036"/>
              <a:gd name="connsiteY1" fmla="*/ 55962 h 4504840"/>
              <a:gd name="connsiteX2" fmla="*/ 18607177 w 18618036"/>
              <a:gd name="connsiteY2" fmla="*/ 2256872 h 4504840"/>
              <a:gd name="connsiteX3" fmla="*/ 16943743 w 18618036"/>
              <a:gd name="connsiteY3" fmla="*/ 4504839 h 4504840"/>
              <a:gd name="connsiteX0" fmla="*/ 18006968 w 18628914"/>
              <a:gd name="connsiteY0" fmla="*/ 4586155 h 4586155"/>
              <a:gd name="connsiteX1" fmla="*/ 0 w 18628914"/>
              <a:gd name="connsiteY1" fmla="*/ 55962 h 4586155"/>
              <a:gd name="connsiteX2" fmla="*/ 18607177 w 18628914"/>
              <a:gd name="connsiteY2" fmla="*/ 2256872 h 4586155"/>
              <a:gd name="connsiteX3" fmla="*/ 18006968 w 18628914"/>
              <a:gd name="connsiteY3" fmla="*/ 4586155 h 4586155"/>
              <a:gd name="connsiteX0" fmla="*/ 422054 w 28885244"/>
              <a:gd name="connsiteY0" fmla="*/ 2390637 h 2533662"/>
              <a:gd name="connsiteX1" fmla="*/ 10277266 w 28885244"/>
              <a:gd name="connsiteY1" fmla="*/ 55962 h 2533662"/>
              <a:gd name="connsiteX2" fmla="*/ 28884443 w 28885244"/>
              <a:gd name="connsiteY2" fmla="*/ 2256872 h 2533662"/>
              <a:gd name="connsiteX3" fmla="*/ 422054 w 28885244"/>
              <a:gd name="connsiteY3" fmla="*/ 2390637 h 2533662"/>
              <a:gd name="connsiteX0" fmla="*/ 422054 w 11030178"/>
              <a:gd name="connsiteY0" fmla="*/ 2390178 h 2547354"/>
              <a:gd name="connsiteX1" fmla="*/ 10277266 w 11030178"/>
              <a:gd name="connsiteY1" fmla="*/ 55503 h 2547354"/>
              <a:gd name="connsiteX2" fmla="*/ 10718795 w 11030178"/>
              <a:gd name="connsiteY2" fmla="*/ 2272677 h 2547354"/>
              <a:gd name="connsiteX3" fmla="*/ 422054 w 11030178"/>
              <a:gd name="connsiteY3" fmla="*/ 2390178 h 2547354"/>
              <a:gd name="connsiteX0" fmla="*/ 422054 w 11772126"/>
              <a:gd name="connsiteY0" fmla="*/ 2381158 h 2538336"/>
              <a:gd name="connsiteX1" fmla="*/ 10277266 w 11772126"/>
              <a:gd name="connsiteY1" fmla="*/ 46483 h 2538336"/>
              <a:gd name="connsiteX2" fmla="*/ 10718795 w 11772126"/>
              <a:gd name="connsiteY2" fmla="*/ 2263657 h 2538336"/>
              <a:gd name="connsiteX3" fmla="*/ 422054 w 11772126"/>
              <a:gd name="connsiteY3" fmla="*/ 2381158 h 2538336"/>
              <a:gd name="connsiteX0" fmla="*/ 422054 w 11772126"/>
              <a:gd name="connsiteY0" fmla="*/ 2381158 h 2381159"/>
              <a:gd name="connsiteX1" fmla="*/ 10277266 w 11772126"/>
              <a:gd name="connsiteY1" fmla="*/ 46483 h 2381159"/>
              <a:gd name="connsiteX2" fmla="*/ 10718795 w 11772126"/>
              <a:gd name="connsiteY2" fmla="*/ 2263657 h 2381159"/>
              <a:gd name="connsiteX3" fmla="*/ 422054 w 11772126"/>
              <a:gd name="connsiteY3" fmla="*/ 2381158 h 2381159"/>
              <a:gd name="connsiteX0" fmla="*/ 1387376 w 12737448"/>
              <a:gd name="connsiteY0" fmla="*/ 2381158 h 2381157"/>
              <a:gd name="connsiteX1" fmla="*/ 1160916 w 12737448"/>
              <a:gd name="connsiteY1" fmla="*/ 1635530 h 2381157"/>
              <a:gd name="connsiteX2" fmla="*/ 11242588 w 12737448"/>
              <a:gd name="connsiteY2" fmla="*/ 46483 h 2381157"/>
              <a:gd name="connsiteX3" fmla="*/ 11684117 w 12737448"/>
              <a:gd name="connsiteY3" fmla="*/ 2263657 h 2381157"/>
              <a:gd name="connsiteX4" fmla="*/ 1387376 w 12737448"/>
              <a:gd name="connsiteY4" fmla="*/ 2381158 h 2381157"/>
              <a:gd name="connsiteX0" fmla="*/ 1387376 w 12737448"/>
              <a:gd name="connsiteY0" fmla="*/ 2381158 h 2381159"/>
              <a:gd name="connsiteX1" fmla="*/ 1160916 w 12737448"/>
              <a:gd name="connsiteY1" fmla="*/ 1635530 h 2381159"/>
              <a:gd name="connsiteX2" fmla="*/ 11242588 w 12737448"/>
              <a:gd name="connsiteY2" fmla="*/ 46483 h 2381159"/>
              <a:gd name="connsiteX3" fmla="*/ 11684117 w 12737448"/>
              <a:gd name="connsiteY3" fmla="*/ 2263657 h 2381159"/>
              <a:gd name="connsiteX4" fmla="*/ 1387376 w 12737448"/>
              <a:gd name="connsiteY4" fmla="*/ 2381158 h 2381159"/>
              <a:gd name="connsiteX0" fmla="*/ 495 w 11350567"/>
              <a:gd name="connsiteY0" fmla="*/ 2381158 h 2381157"/>
              <a:gd name="connsiteX1" fmla="*/ 9855707 w 11350567"/>
              <a:gd name="connsiteY1" fmla="*/ 46483 h 2381157"/>
              <a:gd name="connsiteX2" fmla="*/ 10297236 w 11350567"/>
              <a:gd name="connsiteY2" fmla="*/ 2263657 h 2381157"/>
              <a:gd name="connsiteX3" fmla="*/ 495 w 11350567"/>
              <a:gd name="connsiteY3" fmla="*/ 2381158 h 2381157"/>
              <a:gd name="connsiteX0" fmla="*/ 471 w 11749451"/>
              <a:gd name="connsiteY0" fmla="*/ 2259185 h 2302548"/>
              <a:gd name="connsiteX1" fmla="*/ 10254591 w 11749451"/>
              <a:gd name="connsiteY1" fmla="*/ 46483 h 2302548"/>
              <a:gd name="connsiteX2" fmla="*/ 10696120 w 11749451"/>
              <a:gd name="connsiteY2" fmla="*/ 2263657 h 2302548"/>
              <a:gd name="connsiteX3" fmla="*/ 471 w 11749451"/>
              <a:gd name="connsiteY3" fmla="*/ 2259185 h 2302548"/>
              <a:gd name="connsiteX0" fmla="*/ 411 w 11749391"/>
              <a:gd name="connsiteY0" fmla="*/ 2259185 h 2302550"/>
              <a:gd name="connsiteX1" fmla="*/ 10254531 w 11749391"/>
              <a:gd name="connsiteY1" fmla="*/ 46483 h 2302550"/>
              <a:gd name="connsiteX2" fmla="*/ 10696060 w 11749391"/>
              <a:gd name="connsiteY2" fmla="*/ 2263657 h 2302550"/>
              <a:gd name="connsiteX3" fmla="*/ 411 w 11749391"/>
              <a:gd name="connsiteY3" fmla="*/ 2259185 h 2302550"/>
              <a:gd name="connsiteX0" fmla="*/ 411 w 11144916"/>
              <a:gd name="connsiteY0" fmla="*/ 2212702 h 2256066"/>
              <a:gd name="connsiteX1" fmla="*/ 10254531 w 11144916"/>
              <a:gd name="connsiteY1" fmla="*/ 0 h 2256066"/>
              <a:gd name="connsiteX2" fmla="*/ 10696060 w 11144916"/>
              <a:gd name="connsiteY2" fmla="*/ 2217174 h 2256066"/>
              <a:gd name="connsiteX3" fmla="*/ 411 w 11144916"/>
              <a:gd name="connsiteY3" fmla="*/ 2212702 h 2256066"/>
              <a:gd name="connsiteX0" fmla="*/ 411 w 11133735"/>
              <a:gd name="connsiteY0" fmla="*/ 2338741 h 2382105"/>
              <a:gd name="connsiteX1" fmla="*/ 10223846 w 11133735"/>
              <a:gd name="connsiteY1" fmla="*/ 0 h 2382105"/>
              <a:gd name="connsiteX2" fmla="*/ 10696060 w 11133735"/>
              <a:gd name="connsiteY2" fmla="*/ 2343213 h 2382105"/>
              <a:gd name="connsiteX3" fmla="*/ 411 w 11133735"/>
              <a:gd name="connsiteY3" fmla="*/ 2338741 h 2382105"/>
              <a:gd name="connsiteX0" fmla="*/ 592 w 11133916"/>
              <a:gd name="connsiteY0" fmla="*/ 2338741 h 2382105"/>
              <a:gd name="connsiteX1" fmla="*/ 10224027 w 11133916"/>
              <a:gd name="connsiteY1" fmla="*/ 0 h 2382105"/>
              <a:gd name="connsiteX2" fmla="*/ 10696241 w 11133916"/>
              <a:gd name="connsiteY2" fmla="*/ 2343213 h 2382105"/>
              <a:gd name="connsiteX3" fmla="*/ 592 w 11133916"/>
              <a:gd name="connsiteY3" fmla="*/ 2338741 h 2382105"/>
              <a:gd name="connsiteX0" fmla="*/ 598 w 11092841"/>
              <a:gd name="connsiteY0" fmla="*/ 2346873 h 2390237"/>
              <a:gd name="connsiteX1" fmla="*/ 10101292 w 11092841"/>
              <a:gd name="connsiteY1" fmla="*/ 0 h 2390237"/>
              <a:gd name="connsiteX2" fmla="*/ 10696247 w 11092841"/>
              <a:gd name="connsiteY2" fmla="*/ 2351345 h 2390237"/>
              <a:gd name="connsiteX3" fmla="*/ 598 w 11092841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696247"/>
              <a:gd name="connsiteY0" fmla="*/ 2346873 h 2390237"/>
              <a:gd name="connsiteX1" fmla="*/ 10101292 w 10696247"/>
              <a:gd name="connsiteY1" fmla="*/ 0 h 2390237"/>
              <a:gd name="connsiteX2" fmla="*/ 10696247 w 10696247"/>
              <a:gd name="connsiteY2" fmla="*/ 2351345 h 2390237"/>
              <a:gd name="connsiteX3" fmla="*/ 598 w 10696247"/>
              <a:gd name="connsiteY3" fmla="*/ 2346873 h 2390237"/>
              <a:gd name="connsiteX0" fmla="*/ 598 w 10101292"/>
              <a:gd name="connsiteY0" fmla="*/ 2346873 h 2368933"/>
              <a:gd name="connsiteX1" fmla="*/ 10101292 w 10101292"/>
              <a:gd name="connsiteY1" fmla="*/ 0 h 2368933"/>
              <a:gd name="connsiteX2" fmla="*/ 7658410 w 10101292"/>
              <a:gd name="connsiteY2" fmla="*/ 2326950 h 2368933"/>
              <a:gd name="connsiteX3" fmla="*/ 598 w 10101292"/>
              <a:gd name="connsiteY3" fmla="*/ 2346873 h 2368933"/>
              <a:gd name="connsiteX0" fmla="*/ 701 w 9150153"/>
              <a:gd name="connsiteY0" fmla="*/ 2289953 h 2362389"/>
              <a:gd name="connsiteX1" fmla="*/ 9150153 w 9150153"/>
              <a:gd name="connsiteY1" fmla="*/ 0 h 2362389"/>
              <a:gd name="connsiteX2" fmla="*/ 6707271 w 9150153"/>
              <a:gd name="connsiteY2" fmla="*/ 2326950 h 2362389"/>
              <a:gd name="connsiteX3" fmla="*/ 701 w 9150153"/>
              <a:gd name="connsiteY3" fmla="*/ 2289953 h 2362389"/>
              <a:gd name="connsiteX0" fmla="*/ 701 w 12414723"/>
              <a:gd name="connsiteY0" fmla="*/ 2289953 h 2521985"/>
              <a:gd name="connsiteX1" fmla="*/ 9150153 w 12414723"/>
              <a:gd name="connsiteY1" fmla="*/ 0 h 2521985"/>
              <a:gd name="connsiteX2" fmla="*/ 12414723 w 12414723"/>
              <a:gd name="connsiteY2" fmla="*/ 2497712 h 2521985"/>
              <a:gd name="connsiteX3" fmla="*/ 701 w 12414723"/>
              <a:gd name="connsiteY3" fmla="*/ 2289953 h 2521985"/>
              <a:gd name="connsiteX0" fmla="*/ 3317 w 7814555"/>
              <a:gd name="connsiteY0" fmla="*/ 2448518 h 2532013"/>
              <a:gd name="connsiteX1" fmla="*/ 4549985 w 7814555"/>
              <a:gd name="connsiteY1" fmla="*/ 0 h 2532013"/>
              <a:gd name="connsiteX2" fmla="*/ 7814555 w 7814555"/>
              <a:gd name="connsiteY2" fmla="*/ 2497712 h 2532013"/>
              <a:gd name="connsiteX3" fmla="*/ 3317 w 7814555"/>
              <a:gd name="connsiteY3" fmla="*/ 2448518 h 2532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4555" h="2532013">
                <a:moveTo>
                  <a:pt x="3317" y="2448518"/>
                </a:moveTo>
                <a:cubicBezTo>
                  <a:pt x="-70271" y="2078989"/>
                  <a:pt x="1069459" y="336713"/>
                  <a:pt x="4549985" y="0"/>
                </a:cubicBezTo>
                <a:cubicBezTo>
                  <a:pt x="2532667" y="483067"/>
                  <a:pt x="6056721" y="2060920"/>
                  <a:pt x="7814555" y="2497712"/>
                </a:cubicBezTo>
                <a:cubicBezTo>
                  <a:pt x="5903567" y="2631237"/>
                  <a:pt x="2159788" y="2323125"/>
                  <a:pt x="3317" y="2448518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540000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Imagem 7" descr="Ícone&#10;&#10;Descrição gerada automaticamente">
            <a:extLst>
              <a:ext uri="{FF2B5EF4-FFF2-40B4-BE49-F238E27FC236}">
                <a16:creationId xmlns:a16="http://schemas.microsoft.com/office/drawing/2014/main" id="{BA9B355B-9016-6A04-D3E2-387D7D5DDBF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03964" y="739328"/>
            <a:ext cx="2042777" cy="1988632"/>
          </a:xfrm>
          <a:prstGeom prst="rect">
            <a:avLst/>
          </a:prstGeom>
        </p:spPr>
      </p:pic>
      <p:sp>
        <p:nvSpPr>
          <p:cNvPr id="32" name="Seta: para a Direita 31">
            <a:extLst>
              <a:ext uri="{FF2B5EF4-FFF2-40B4-BE49-F238E27FC236}">
                <a16:creationId xmlns:a16="http://schemas.microsoft.com/office/drawing/2014/main" id="{5AB0497A-F70E-C7CB-D67E-67375691F0A0}"/>
              </a:ext>
            </a:extLst>
          </p:cNvPr>
          <p:cNvSpPr/>
          <p:nvPr/>
        </p:nvSpPr>
        <p:spPr>
          <a:xfrm>
            <a:off x="4495550" y="3552981"/>
            <a:ext cx="152902" cy="465362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6" name="Imagem 15" descr="Desenho animado para crianças&#10;&#10;Descrição gerada automaticamente com confiança média">
            <a:extLst>
              <a:ext uri="{FF2B5EF4-FFF2-40B4-BE49-F238E27FC236}">
                <a16:creationId xmlns:a16="http://schemas.microsoft.com/office/drawing/2014/main" id="{78EC66C2-79A2-AC98-2720-5954AC0C670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3085"/>
          <a:stretch/>
        </p:blipFill>
        <p:spPr>
          <a:xfrm>
            <a:off x="790430" y="2920792"/>
            <a:ext cx="3327297" cy="1788368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8" name="Imagem 17" descr="Diagrama&#10;&#10;Descrição gerada automaticamente">
            <a:extLst>
              <a:ext uri="{FF2B5EF4-FFF2-40B4-BE49-F238E27FC236}">
                <a16:creationId xmlns:a16="http://schemas.microsoft.com/office/drawing/2014/main" id="{BE4B77BE-631C-D443-2D87-C75992B68ED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305"/>
          <a:stretch/>
        </p:blipFill>
        <p:spPr>
          <a:xfrm>
            <a:off x="5026274" y="2920793"/>
            <a:ext cx="3327297" cy="1788368"/>
          </a:xfrm>
          <a:prstGeom prst="rect">
            <a:avLst/>
          </a:prstGeom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01857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53E7561-7F3A-61D0-E1B8-BFC01A4BCE2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44241"/>
          <a:stretch/>
        </p:blipFill>
        <p:spPr>
          <a:xfrm>
            <a:off x="312580" y="630194"/>
            <a:ext cx="3327298" cy="232492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5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id="{246026B1-5D6F-4843-D5B1-22FE6E1B6DBB}"/>
              </a:ext>
            </a:extLst>
          </p:cNvPr>
          <p:cNvSpPr/>
          <p:nvPr/>
        </p:nvSpPr>
        <p:spPr>
          <a:xfrm>
            <a:off x="2216391" y="1655982"/>
            <a:ext cx="372703" cy="372703"/>
          </a:xfrm>
          <a:prstGeom prst="ellipse">
            <a:avLst/>
          </a:prstGeom>
          <a:noFill/>
          <a:ln>
            <a:solidFill>
              <a:srgbClr val="8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273C7EAC-7E9E-5025-C8C6-BB8CB3BB05AA}"/>
              </a:ext>
            </a:extLst>
          </p:cNvPr>
          <p:cNvSpPr txBox="1"/>
          <p:nvPr/>
        </p:nvSpPr>
        <p:spPr>
          <a:xfrm>
            <a:off x="4055234" y="1391396"/>
            <a:ext cx="27646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Place a bolt (10x70mm) through the </a:t>
            </a:r>
            <a:r>
              <a:rPr lang="en-US" sz="1400" dirty="0">
                <a:solidFill>
                  <a:srgbClr val="B50130"/>
                </a:solidFill>
              </a:rPr>
              <a:t>T-Plat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and the</a:t>
            </a:r>
            <a:r>
              <a:rPr lang="en-US" sz="1400" dirty="0">
                <a:solidFill>
                  <a:srgbClr val="B50130"/>
                </a:solidFill>
              </a:rPr>
              <a:t> U-Plate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and secure it with a nut.</a:t>
            </a:r>
          </a:p>
        </p:txBody>
      </p:sp>
      <p:sp>
        <p:nvSpPr>
          <p:cNvPr id="33" name="Triângulo isósceles 9">
            <a:extLst>
              <a:ext uri="{FF2B5EF4-FFF2-40B4-BE49-F238E27FC236}">
                <a16:creationId xmlns:a16="http://schemas.microsoft.com/office/drawing/2014/main" id="{64F420C5-9431-7629-309E-7C37FF128691}"/>
              </a:ext>
            </a:extLst>
          </p:cNvPr>
          <p:cNvSpPr/>
          <p:nvPr/>
        </p:nvSpPr>
        <p:spPr>
          <a:xfrm flipH="1">
            <a:off x="2081440" y="1877478"/>
            <a:ext cx="1450783" cy="1354396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9049190 w 19049190"/>
              <a:gd name="connsiteY0" fmla="*/ 4491561 h 4503364"/>
              <a:gd name="connsiteX1" fmla="*/ 301278 w 19049190"/>
              <a:gd name="connsiteY1" fmla="*/ 34443 h 4503364"/>
              <a:gd name="connsiteX2" fmla="*/ 18018741 w 19049190"/>
              <a:gd name="connsiteY2" fmla="*/ 0 h 4503364"/>
              <a:gd name="connsiteX3" fmla="*/ 19049190 w 19049190"/>
              <a:gd name="connsiteY3" fmla="*/ 4491561 h 4503364"/>
              <a:gd name="connsiteX0" fmla="*/ 18747911 w 18747911"/>
              <a:gd name="connsiteY0" fmla="*/ 4491561 h 4496667"/>
              <a:gd name="connsiteX1" fmla="*/ -1 w 18747911"/>
              <a:gd name="connsiteY1" fmla="*/ 34443 h 4496667"/>
              <a:gd name="connsiteX2" fmla="*/ 17717462 w 18747911"/>
              <a:gd name="connsiteY2" fmla="*/ 0 h 4496667"/>
              <a:gd name="connsiteX3" fmla="*/ 18747911 w 18747911"/>
              <a:gd name="connsiteY3" fmla="*/ 4491561 h 4496667"/>
              <a:gd name="connsiteX0" fmla="*/ 18414881 w 18414881"/>
              <a:gd name="connsiteY0" fmla="*/ 4245471 h 4250985"/>
              <a:gd name="connsiteX1" fmla="*/ -1 w 18414881"/>
              <a:gd name="connsiteY1" fmla="*/ 34443 h 4250985"/>
              <a:gd name="connsiteX2" fmla="*/ 17717462 w 18414881"/>
              <a:gd name="connsiteY2" fmla="*/ 0 h 4250985"/>
              <a:gd name="connsiteX3" fmla="*/ 18414881 w 18414881"/>
              <a:gd name="connsiteY3" fmla="*/ 4245471 h 4250985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573590 h 4579104"/>
              <a:gd name="connsiteX1" fmla="*/ -1 w 18414881"/>
              <a:gd name="connsiteY1" fmla="*/ 362562 h 4579104"/>
              <a:gd name="connsiteX2" fmla="*/ 16440846 w 18414881"/>
              <a:gd name="connsiteY2" fmla="*/ 0 h 4579104"/>
              <a:gd name="connsiteX3" fmla="*/ 18414881 w 18414881"/>
              <a:gd name="connsiteY3" fmla="*/ 4573590 h 4579104"/>
              <a:gd name="connsiteX0" fmla="*/ 18414881 w 18414881"/>
              <a:gd name="connsiteY0" fmla="*/ 4211029 h 4216543"/>
              <a:gd name="connsiteX1" fmla="*/ -1 w 18414881"/>
              <a:gd name="connsiteY1" fmla="*/ 1 h 4216543"/>
              <a:gd name="connsiteX2" fmla="*/ 18168293 w 18414881"/>
              <a:gd name="connsiteY2" fmla="*/ 1906141 h 4216543"/>
              <a:gd name="connsiteX3" fmla="*/ 18414881 w 18414881"/>
              <a:gd name="connsiteY3" fmla="*/ 4211029 h 4216543"/>
              <a:gd name="connsiteX0" fmla="*/ 18414881 w 18414881"/>
              <a:gd name="connsiteY0" fmla="*/ 4211027 h 4216541"/>
              <a:gd name="connsiteX1" fmla="*/ -1 w 18414881"/>
              <a:gd name="connsiteY1" fmla="*/ -1 h 4216541"/>
              <a:gd name="connsiteX2" fmla="*/ 18168293 w 18414881"/>
              <a:gd name="connsiteY2" fmla="*/ 1906139 h 4216541"/>
              <a:gd name="connsiteX3" fmla="*/ 18414881 w 18414881"/>
              <a:gd name="connsiteY3" fmla="*/ 4211027 h 4216541"/>
              <a:gd name="connsiteX0" fmla="*/ 18414881 w 18414881"/>
              <a:gd name="connsiteY0" fmla="*/ 4211029 h 4211028"/>
              <a:gd name="connsiteX1" fmla="*/ -1 w 18414881"/>
              <a:gd name="connsiteY1" fmla="*/ 1 h 4211028"/>
              <a:gd name="connsiteX2" fmla="*/ 18168293 w 18414881"/>
              <a:gd name="connsiteY2" fmla="*/ 1906141 h 4211028"/>
              <a:gd name="connsiteX3" fmla="*/ 18414881 w 18414881"/>
              <a:gd name="connsiteY3" fmla="*/ 4211029 h 4211028"/>
              <a:gd name="connsiteX0" fmla="*/ 18414881 w 18414881"/>
              <a:gd name="connsiteY0" fmla="*/ 4276049 h 4276050"/>
              <a:gd name="connsiteX1" fmla="*/ -1 w 18414881"/>
              <a:gd name="connsiteY1" fmla="*/ 65021 h 4276050"/>
              <a:gd name="connsiteX2" fmla="*/ 18168293 w 18414881"/>
              <a:gd name="connsiteY2" fmla="*/ 1971161 h 4276050"/>
              <a:gd name="connsiteX3" fmla="*/ 18414881 w 18414881"/>
              <a:gd name="connsiteY3" fmla="*/ 4276049 h 4276050"/>
              <a:gd name="connsiteX0" fmla="*/ 18414881 w 18414881"/>
              <a:gd name="connsiteY0" fmla="*/ 4276049 h 4276048"/>
              <a:gd name="connsiteX1" fmla="*/ -1 w 18414881"/>
              <a:gd name="connsiteY1" fmla="*/ 65021 h 4276048"/>
              <a:gd name="connsiteX2" fmla="*/ 18168293 w 18414881"/>
              <a:gd name="connsiteY2" fmla="*/ 1971161 h 4276048"/>
              <a:gd name="connsiteX3" fmla="*/ 18414881 w 18414881"/>
              <a:gd name="connsiteY3" fmla="*/ 4276049 h 4276048"/>
              <a:gd name="connsiteX0" fmla="*/ 17993553 w 17993553"/>
              <a:gd name="connsiteY0" fmla="*/ 4582666 h 4582667"/>
              <a:gd name="connsiteX1" fmla="*/ 0 w 17993553"/>
              <a:gd name="connsiteY1" fmla="*/ 54507 h 4582667"/>
              <a:gd name="connsiteX2" fmla="*/ 17746965 w 17993553"/>
              <a:gd name="connsiteY2" fmla="*/ 2277778 h 4582667"/>
              <a:gd name="connsiteX3" fmla="*/ 17993553 w 17993553"/>
              <a:gd name="connsiteY3" fmla="*/ 4582666 h 4582667"/>
              <a:gd name="connsiteX0" fmla="*/ 17645957 w 17645957"/>
              <a:gd name="connsiteY0" fmla="*/ 4624190 h 4624189"/>
              <a:gd name="connsiteX1" fmla="*/ 0 w 17645957"/>
              <a:gd name="connsiteY1" fmla="*/ 53340 h 4624189"/>
              <a:gd name="connsiteX2" fmla="*/ 17399369 w 17645957"/>
              <a:gd name="connsiteY2" fmla="*/ 2319302 h 4624189"/>
              <a:gd name="connsiteX3" fmla="*/ 17645957 w 17645957"/>
              <a:gd name="connsiteY3" fmla="*/ 4624190 h 4624189"/>
              <a:gd name="connsiteX0" fmla="*/ 17645957 w 17645957"/>
              <a:gd name="connsiteY0" fmla="*/ 4624190 h 4624191"/>
              <a:gd name="connsiteX1" fmla="*/ 0 w 17645957"/>
              <a:gd name="connsiteY1" fmla="*/ 53340 h 4624191"/>
              <a:gd name="connsiteX2" fmla="*/ 17399369 w 17645957"/>
              <a:gd name="connsiteY2" fmla="*/ 2319302 h 4624191"/>
              <a:gd name="connsiteX3" fmla="*/ 17645957 w 17645957"/>
              <a:gd name="connsiteY3" fmla="*/ 4624190 h 4624191"/>
              <a:gd name="connsiteX0" fmla="*/ 17645957 w 17645957"/>
              <a:gd name="connsiteY0" fmla="*/ 4625651 h 4625651"/>
              <a:gd name="connsiteX1" fmla="*/ 0 w 17645957"/>
              <a:gd name="connsiteY1" fmla="*/ 54801 h 4625651"/>
              <a:gd name="connsiteX2" fmla="*/ 17399369 w 17645957"/>
              <a:gd name="connsiteY2" fmla="*/ 2320763 h 4625651"/>
              <a:gd name="connsiteX3" fmla="*/ 17645957 w 17645957"/>
              <a:gd name="connsiteY3" fmla="*/ 4625651 h 4625651"/>
              <a:gd name="connsiteX0" fmla="*/ 16943743 w 17424544"/>
              <a:gd name="connsiteY0" fmla="*/ 4503680 h 4503679"/>
              <a:gd name="connsiteX1" fmla="*/ 0 w 17424544"/>
              <a:gd name="connsiteY1" fmla="*/ 54803 h 4503679"/>
              <a:gd name="connsiteX2" fmla="*/ 17399369 w 17424544"/>
              <a:gd name="connsiteY2" fmla="*/ 2320765 h 4503679"/>
              <a:gd name="connsiteX3" fmla="*/ 16943743 w 17424544"/>
              <a:gd name="connsiteY3" fmla="*/ 4503680 h 4503679"/>
              <a:gd name="connsiteX0" fmla="*/ 16943743 w 17424544"/>
              <a:gd name="connsiteY0" fmla="*/ 4503680 h 4503681"/>
              <a:gd name="connsiteX1" fmla="*/ 0 w 17424544"/>
              <a:gd name="connsiteY1" fmla="*/ 54803 h 4503681"/>
              <a:gd name="connsiteX2" fmla="*/ 17399369 w 17424544"/>
              <a:gd name="connsiteY2" fmla="*/ 2320765 h 4503681"/>
              <a:gd name="connsiteX3" fmla="*/ 16943743 w 17424544"/>
              <a:gd name="connsiteY3" fmla="*/ 4503680 h 4503681"/>
              <a:gd name="connsiteX0" fmla="*/ 16943743 w 18618036"/>
              <a:gd name="connsiteY0" fmla="*/ 4505516 h 4505515"/>
              <a:gd name="connsiteX1" fmla="*/ 0 w 18618036"/>
              <a:gd name="connsiteY1" fmla="*/ 56639 h 4505515"/>
              <a:gd name="connsiteX2" fmla="*/ 18607177 w 18618036"/>
              <a:gd name="connsiteY2" fmla="*/ 2257549 h 4505515"/>
              <a:gd name="connsiteX3" fmla="*/ 16943743 w 18618036"/>
              <a:gd name="connsiteY3" fmla="*/ 4505516 h 4505515"/>
              <a:gd name="connsiteX0" fmla="*/ 16943743 w 18618036"/>
              <a:gd name="connsiteY0" fmla="*/ 4504839 h 4504840"/>
              <a:gd name="connsiteX1" fmla="*/ 0 w 18618036"/>
              <a:gd name="connsiteY1" fmla="*/ 55962 h 4504840"/>
              <a:gd name="connsiteX2" fmla="*/ 18607177 w 18618036"/>
              <a:gd name="connsiteY2" fmla="*/ 2256872 h 4504840"/>
              <a:gd name="connsiteX3" fmla="*/ 16943743 w 18618036"/>
              <a:gd name="connsiteY3" fmla="*/ 4504839 h 4504840"/>
              <a:gd name="connsiteX0" fmla="*/ 18006968 w 18628914"/>
              <a:gd name="connsiteY0" fmla="*/ 4586155 h 4586155"/>
              <a:gd name="connsiteX1" fmla="*/ 0 w 18628914"/>
              <a:gd name="connsiteY1" fmla="*/ 55962 h 4586155"/>
              <a:gd name="connsiteX2" fmla="*/ 18607177 w 18628914"/>
              <a:gd name="connsiteY2" fmla="*/ 2256872 h 4586155"/>
              <a:gd name="connsiteX3" fmla="*/ 18006968 w 18628914"/>
              <a:gd name="connsiteY3" fmla="*/ 4586155 h 4586155"/>
              <a:gd name="connsiteX0" fmla="*/ 422054 w 28885244"/>
              <a:gd name="connsiteY0" fmla="*/ 2390637 h 2533662"/>
              <a:gd name="connsiteX1" fmla="*/ 10277266 w 28885244"/>
              <a:gd name="connsiteY1" fmla="*/ 55962 h 2533662"/>
              <a:gd name="connsiteX2" fmla="*/ 28884443 w 28885244"/>
              <a:gd name="connsiteY2" fmla="*/ 2256872 h 2533662"/>
              <a:gd name="connsiteX3" fmla="*/ 422054 w 28885244"/>
              <a:gd name="connsiteY3" fmla="*/ 2390637 h 2533662"/>
              <a:gd name="connsiteX0" fmla="*/ 422054 w 11030178"/>
              <a:gd name="connsiteY0" fmla="*/ 2390178 h 2547354"/>
              <a:gd name="connsiteX1" fmla="*/ 10277266 w 11030178"/>
              <a:gd name="connsiteY1" fmla="*/ 55503 h 2547354"/>
              <a:gd name="connsiteX2" fmla="*/ 10718795 w 11030178"/>
              <a:gd name="connsiteY2" fmla="*/ 2272677 h 2547354"/>
              <a:gd name="connsiteX3" fmla="*/ 422054 w 11030178"/>
              <a:gd name="connsiteY3" fmla="*/ 2390178 h 2547354"/>
              <a:gd name="connsiteX0" fmla="*/ 422054 w 11772126"/>
              <a:gd name="connsiteY0" fmla="*/ 2381158 h 2538336"/>
              <a:gd name="connsiteX1" fmla="*/ 10277266 w 11772126"/>
              <a:gd name="connsiteY1" fmla="*/ 46483 h 2538336"/>
              <a:gd name="connsiteX2" fmla="*/ 10718795 w 11772126"/>
              <a:gd name="connsiteY2" fmla="*/ 2263657 h 2538336"/>
              <a:gd name="connsiteX3" fmla="*/ 422054 w 11772126"/>
              <a:gd name="connsiteY3" fmla="*/ 2381158 h 2538336"/>
              <a:gd name="connsiteX0" fmla="*/ 422054 w 11772126"/>
              <a:gd name="connsiteY0" fmla="*/ 2381158 h 2381159"/>
              <a:gd name="connsiteX1" fmla="*/ 10277266 w 11772126"/>
              <a:gd name="connsiteY1" fmla="*/ 46483 h 2381159"/>
              <a:gd name="connsiteX2" fmla="*/ 10718795 w 11772126"/>
              <a:gd name="connsiteY2" fmla="*/ 2263657 h 2381159"/>
              <a:gd name="connsiteX3" fmla="*/ 422054 w 11772126"/>
              <a:gd name="connsiteY3" fmla="*/ 2381158 h 2381159"/>
              <a:gd name="connsiteX0" fmla="*/ 1387376 w 12737448"/>
              <a:gd name="connsiteY0" fmla="*/ 2381158 h 2381157"/>
              <a:gd name="connsiteX1" fmla="*/ 1160916 w 12737448"/>
              <a:gd name="connsiteY1" fmla="*/ 1635530 h 2381157"/>
              <a:gd name="connsiteX2" fmla="*/ 11242588 w 12737448"/>
              <a:gd name="connsiteY2" fmla="*/ 46483 h 2381157"/>
              <a:gd name="connsiteX3" fmla="*/ 11684117 w 12737448"/>
              <a:gd name="connsiteY3" fmla="*/ 2263657 h 2381157"/>
              <a:gd name="connsiteX4" fmla="*/ 1387376 w 12737448"/>
              <a:gd name="connsiteY4" fmla="*/ 2381158 h 2381157"/>
              <a:gd name="connsiteX0" fmla="*/ 1387376 w 12737448"/>
              <a:gd name="connsiteY0" fmla="*/ 2381158 h 2381159"/>
              <a:gd name="connsiteX1" fmla="*/ 1160916 w 12737448"/>
              <a:gd name="connsiteY1" fmla="*/ 1635530 h 2381159"/>
              <a:gd name="connsiteX2" fmla="*/ 11242588 w 12737448"/>
              <a:gd name="connsiteY2" fmla="*/ 46483 h 2381159"/>
              <a:gd name="connsiteX3" fmla="*/ 11684117 w 12737448"/>
              <a:gd name="connsiteY3" fmla="*/ 2263657 h 2381159"/>
              <a:gd name="connsiteX4" fmla="*/ 1387376 w 12737448"/>
              <a:gd name="connsiteY4" fmla="*/ 2381158 h 2381159"/>
              <a:gd name="connsiteX0" fmla="*/ 495 w 11350567"/>
              <a:gd name="connsiteY0" fmla="*/ 2381158 h 2381157"/>
              <a:gd name="connsiteX1" fmla="*/ 9855707 w 11350567"/>
              <a:gd name="connsiteY1" fmla="*/ 46483 h 2381157"/>
              <a:gd name="connsiteX2" fmla="*/ 10297236 w 11350567"/>
              <a:gd name="connsiteY2" fmla="*/ 2263657 h 2381157"/>
              <a:gd name="connsiteX3" fmla="*/ 495 w 11350567"/>
              <a:gd name="connsiteY3" fmla="*/ 2381158 h 2381157"/>
              <a:gd name="connsiteX0" fmla="*/ 471 w 11749451"/>
              <a:gd name="connsiteY0" fmla="*/ 2259185 h 2302548"/>
              <a:gd name="connsiteX1" fmla="*/ 10254591 w 11749451"/>
              <a:gd name="connsiteY1" fmla="*/ 46483 h 2302548"/>
              <a:gd name="connsiteX2" fmla="*/ 10696120 w 11749451"/>
              <a:gd name="connsiteY2" fmla="*/ 2263657 h 2302548"/>
              <a:gd name="connsiteX3" fmla="*/ 471 w 11749451"/>
              <a:gd name="connsiteY3" fmla="*/ 2259185 h 2302548"/>
              <a:gd name="connsiteX0" fmla="*/ 411 w 11749391"/>
              <a:gd name="connsiteY0" fmla="*/ 2259185 h 2302550"/>
              <a:gd name="connsiteX1" fmla="*/ 10254531 w 11749391"/>
              <a:gd name="connsiteY1" fmla="*/ 46483 h 2302550"/>
              <a:gd name="connsiteX2" fmla="*/ 10696060 w 11749391"/>
              <a:gd name="connsiteY2" fmla="*/ 2263657 h 2302550"/>
              <a:gd name="connsiteX3" fmla="*/ 411 w 11749391"/>
              <a:gd name="connsiteY3" fmla="*/ 2259185 h 2302550"/>
              <a:gd name="connsiteX0" fmla="*/ 411 w 11144916"/>
              <a:gd name="connsiteY0" fmla="*/ 2212702 h 2256066"/>
              <a:gd name="connsiteX1" fmla="*/ 10254531 w 11144916"/>
              <a:gd name="connsiteY1" fmla="*/ 0 h 2256066"/>
              <a:gd name="connsiteX2" fmla="*/ 10696060 w 11144916"/>
              <a:gd name="connsiteY2" fmla="*/ 2217174 h 2256066"/>
              <a:gd name="connsiteX3" fmla="*/ 411 w 11144916"/>
              <a:gd name="connsiteY3" fmla="*/ 2212702 h 2256066"/>
              <a:gd name="connsiteX0" fmla="*/ 411 w 11133735"/>
              <a:gd name="connsiteY0" fmla="*/ 2338741 h 2382105"/>
              <a:gd name="connsiteX1" fmla="*/ 10223846 w 11133735"/>
              <a:gd name="connsiteY1" fmla="*/ 0 h 2382105"/>
              <a:gd name="connsiteX2" fmla="*/ 10696060 w 11133735"/>
              <a:gd name="connsiteY2" fmla="*/ 2343213 h 2382105"/>
              <a:gd name="connsiteX3" fmla="*/ 411 w 11133735"/>
              <a:gd name="connsiteY3" fmla="*/ 2338741 h 2382105"/>
              <a:gd name="connsiteX0" fmla="*/ 592 w 11133916"/>
              <a:gd name="connsiteY0" fmla="*/ 2338741 h 2382105"/>
              <a:gd name="connsiteX1" fmla="*/ 10224027 w 11133916"/>
              <a:gd name="connsiteY1" fmla="*/ 0 h 2382105"/>
              <a:gd name="connsiteX2" fmla="*/ 10696241 w 11133916"/>
              <a:gd name="connsiteY2" fmla="*/ 2343213 h 2382105"/>
              <a:gd name="connsiteX3" fmla="*/ 592 w 11133916"/>
              <a:gd name="connsiteY3" fmla="*/ 2338741 h 2382105"/>
              <a:gd name="connsiteX0" fmla="*/ 598 w 11092841"/>
              <a:gd name="connsiteY0" fmla="*/ 2346873 h 2390237"/>
              <a:gd name="connsiteX1" fmla="*/ 10101292 w 11092841"/>
              <a:gd name="connsiteY1" fmla="*/ 0 h 2390237"/>
              <a:gd name="connsiteX2" fmla="*/ 10696247 w 11092841"/>
              <a:gd name="connsiteY2" fmla="*/ 2351345 h 2390237"/>
              <a:gd name="connsiteX3" fmla="*/ 598 w 11092841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801960"/>
              <a:gd name="connsiteY0" fmla="*/ 2346873 h 2390237"/>
              <a:gd name="connsiteX1" fmla="*/ 10101292 w 10801960"/>
              <a:gd name="connsiteY1" fmla="*/ 0 h 2390237"/>
              <a:gd name="connsiteX2" fmla="*/ 10696247 w 10801960"/>
              <a:gd name="connsiteY2" fmla="*/ 2351345 h 2390237"/>
              <a:gd name="connsiteX3" fmla="*/ 598 w 10801960"/>
              <a:gd name="connsiteY3" fmla="*/ 2346873 h 2390237"/>
              <a:gd name="connsiteX0" fmla="*/ 598 w 10696247"/>
              <a:gd name="connsiteY0" fmla="*/ 2346873 h 2390237"/>
              <a:gd name="connsiteX1" fmla="*/ 10101292 w 10696247"/>
              <a:gd name="connsiteY1" fmla="*/ 0 h 2390237"/>
              <a:gd name="connsiteX2" fmla="*/ 10696247 w 10696247"/>
              <a:gd name="connsiteY2" fmla="*/ 2351345 h 2390237"/>
              <a:gd name="connsiteX3" fmla="*/ 598 w 10696247"/>
              <a:gd name="connsiteY3" fmla="*/ 2346873 h 2390237"/>
              <a:gd name="connsiteX0" fmla="*/ 598 w 10101292"/>
              <a:gd name="connsiteY0" fmla="*/ 2346873 h 2368933"/>
              <a:gd name="connsiteX1" fmla="*/ 10101292 w 10101292"/>
              <a:gd name="connsiteY1" fmla="*/ 0 h 2368933"/>
              <a:gd name="connsiteX2" fmla="*/ 7658410 w 10101292"/>
              <a:gd name="connsiteY2" fmla="*/ 2326950 h 2368933"/>
              <a:gd name="connsiteX3" fmla="*/ 598 w 10101292"/>
              <a:gd name="connsiteY3" fmla="*/ 2346873 h 2368933"/>
              <a:gd name="connsiteX0" fmla="*/ 701 w 9150153"/>
              <a:gd name="connsiteY0" fmla="*/ 2289953 h 2362389"/>
              <a:gd name="connsiteX1" fmla="*/ 9150153 w 9150153"/>
              <a:gd name="connsiteY1" fmla="*/ 0 h 2362389"/>
              <a:gd name="connsiteX2" fmla="*/ 6707271 w 9150153"/>
              <a:gd name="connsiteY2" fmla="*/ 2326950 h 2362389"/>
              <a:gd name="connsiteX3" fmla="*/ 701 w 9150153"/>
              <a:gd name="connsiteY3" fmla="*/ 2289953 h 2362389"/>
              <a:gd name="connsiteX0" fmla="*/ 701 w 11383777"/>
              <a:gd name="connsiteY0" fmla="*/ 2289953 h 2289953"/>
              <a:gd name="connsiteX1" fmla="*/ 9150153 w 11383777"/>
              <a:gd name="connsiteY1" fmla="*/ 0 h 2289953"/>
              <a:gd name="connsiteX2" fmla="*/ 11383777 w 11383777"/>
              <a:gd name="connsiteY2" fmla="*/ 1997622 h 2289953"/>
              <a:gd name="connsiteX3" fmla="*/ 701 w 11383777"/>
              <a:gd name="connsiteY3" fmla="*/ 2289953 h 2289953"/>
              <a:gd name="connsiteX0" fmla="*/ 1016 w 9573834"/>
              <a:gd name="connsiteY0" fmla="*/ 2167980 h 2167980"/>
              <a:gd name="connsiteX1" fmla="*/ 7340210 w 9573834"/>
              <a:gd name="connsiteY1" fmla="*/ 0 h 2167980"/>
              <a:gd name="connsiteX2" fmla="*/ 9573834 w 9573834"/>
              <a:gd name="connsiteY2" fmla="*/ 1997622 h 2167980"/>
              <a:gd name="connsiteX3" fmla="*/ 1016 w 9573834"/>
              <a:gd name="connsiteY3" fmla="*/ 2167980 h 2167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73834" h="2167980">
                <a:moveTo>
                  <a:pt x="1016" y="2167980"/>
                </a:moveTo>
                <a:cubicBezTo>
                  <a:pt x="-72572" y="1798451"/>
                  <a:pt x="3859684" y="336713"/>
                  <a:pt x="7340210" y="0"/>
                </a:cubicBezTo>
                <a:cubicBezTo>
                  <a:pt x="5322892" y="483067"/>
                  <a:pt x="7816000" y="1560830"/>
                  <a:pt x="9573834" y="1997622"/>
                </a:cubicBezTo>
                <a:cubicBezTo>
                  <a:pt x="7662846" y="2131147"/>
                  <a:pt x="2157487" y="2042587"/>
                  <a:pt x="1016" y="2167980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540000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a Direita 22">
            <a:extLst>
              <a:ext uri="{FF2B5EF4-FFF2-40B4-BE49-F238E27FC236}">
                <a16:creationId xmlns:a16="http://schemas.microsoft.com/office/drawing/2014/main" id="{F2E3757E-D509-40C5-195E-B452B5BD0ADB}"/>
              </a:ext>
            </a:extLst>
          </p:cNvPr>
          <p:cNvSpPr/>
          <p:nvPr/>
        </p:nvSpPr>
        <p:spPr>
          <a:xfrm>
            <a:off x="4482323" y="3567899"/>
            <a:ext cx="179354" cy="54587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8EC97C4C-A42E-CC1C-3DC5-D53B5879BD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0128" y="2920117"/>
            <a:ext cx="3247570" cy="1815331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1" name="Imagem 10" descr="Diagrama&#10;&#10;Descrição gerada automaticamente">
            <a:extLst>
              <a:ext uri="{FF2B5EF4-FFF2-40B4-BE49-F238E27FC236}">
                <a16:creationId xmlns:a16="http://schemas.microsoft.com/office/drawing/2014/main" id="{F4C0B6AF-64DB-E9F7-6C51-8ED8716915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6303" y="2920117"/>
            <a:ext cx="3247570" cy="1817248"/>
          </a:xfrm>
          <a:prstGeom prst="rect">
            <a:avLst/>
          </a:prstGeom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178199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Diagrama&#10;&#10;Descrição gerada automaticamente">
            <a:extLst>
              <a:ext uri="{FF2B5EF4-FFF2-40B4-BE49-F238E27FC236}">
                <a16:creationId xmlns:a16="http://schemas.microsoft.com/office/drawing/2014/main" id="{743E7C1C-B719-E1E8-E1AF-192BF323B43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12852"/>
          <a:stretch/>
        </p:blipFill>
        <p:spPr>
          <a:xfrm>
            <a:off x="4771436" y="3031587"/>
            <a:ext cx="4136336" cy="1706555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6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658248D0-0417-44E8-EC34-6EAF755A91B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17472" y="2503710"/>
            <a:ext cx="4055092" cy="2365470"/>
          </a:xfrm>
          <a:prstGeom prst="rect">
            <a:avLst/>
          </a:prstGeom>
        </p:spPr>
      </p:pic>
      <p:sp>
        <p:nvSpPr>
          <p:cNvPr id="25" name="Elipse 24">
            <a:extLst>
              <a:ext uri="{FF2B5EF4-FFF2-40B4-BE49-F238E27FC236}">
                <a16:creationId xmlns:a16="http://schemas.microsoft.com/office/drawing/2014/main" id="{D5A789F1-A24F-0DCD-9E2A-CBA10DE9C9BC}"/>
              </a:ext>
            </a:extLst>
          </p:cNvPr>
          <p:cNvSpPr/>
          <p:nvPr/>
        </p:nvSpPr>
        <p:spPr>
          <a:xfrm>
            <a:off x="1399695" y="2560320"/>
            <a:ext cx="683105" cy="289283"/>
          </a:xfrm>
          <a:prstGeom prst="ellipse">
            <a:avLst/>
          </a:prstGeom>
          <a:noFill/>
          <a:ln>
            <a:solidFill>
              <a:srgbClr val="8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610118" y="955807"/>
            <a:ext cx="29453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Place 2 bolts (8x60mm) between the Heat Recovery Module and the </a:t>
            </a:r>
            <a:r>
              <a:rPr lang="en-US" sz="1400" dirty="0">
                <a:solidFill>
                  <a:srgbClr val="B50130"/>
                </a:solidFill>
              </a:rPr>
              <a:t>2 Upper Mounting Bar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previously placed on the Rooftop.</a:t>
            </a:r>
          </a:p>
        </p:txBody>
      </p:sp>
      <p:sp>
        <p:nvSpPr>
          <p:cNvPr id="16" name="Seta: para a Direita 15">
            <a:extLst>
              <a:ext uri="{FF2B5EF4-FFF2-40B4-BE49-F238E27FC236}">
                <a16:creationId xmlns:a16="http://schemas.microsoft.com/office/drawing/2014/main" id="{E18C99B2-97C4-F335-C66A-CB74A72E6AC9}"/>
              </a:ext>
            </a:extLst>
          </p:cNvPr>
          <p:cNvSpPr/>
          <p:nvPr/>
        </p:nvSpPr>
        <p:spPr>
          <a:xfrm rot="5400000">
            <a:off x="6749927" y="2528733"/>
            <a:ext cx="179354" cy="54587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Triângulo isósceles 9">
            <a:extLst>
              <a:ext uri="{FF2B5EF4-FFF2-40B4-BE49-F238E27FC236}">
                <a16:creationId xmlns:a16="http://schemas.microsoft.com/office/drawing/2014/main" id="{C7260044-2E1C-114D-48CD-DB6AAEB91BB7}"/>
              </a:ext>
            </a:extLst>
          </p:cNvPr>
          <p:cNvSpPr/>
          <p:nvPr/>
        </p:nvSpPr>
        <p:spPr>
          <a:xfrm rot="10800000" flipH="1">
            <a:off x="1625264" y="1598669"/>
            <a:ext cx="3845502" cy="1267109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2716922 w 13225740"/>
              <a:gd name="connsiteY0" fmla="*/ 3515955 h 3516801"/>
              <a:gd name="connsiteX1" fmla="*/ 0 w 13225740"/>
              <a:gd name="connsiteY1" fmla="*/ 0 h 3516801"/>
              <a:gd name="connsiteX2" fmla="*/ 13201337 w 13225740"/>
              <a:gd name="connsiteY2" fmla="*/ 966988 h 3516801"/>
              <a:gd name="connsiteX3" fmla="*/ 12716922 w 13225740"/>
              <a:gd name="connsiteY3" fmla="*/ 3515955 h 3516801"/>
              <a:gd name="connsiteX0" fmla="*/ 10663693 w 13209036"/>
              <a:gd name="connsiteY0" fmla="*/ 3369578 h 3370498"/>
              <a:gd name="connsiteX1" fmla="*/ 0 w 13209036"/>
              <a:gd name="connsiteY1" fmla="*/ 0 h 3370498"/>
              <a:gd name="connsiteX2" fmla="*/ 13201337 w 13209036"/>
              <a:gd name="connsiteY2" fmla="*/ 966988 h 3370498"/>
              <a:gd name="connsiteX3" fmla="*/ 10663693 w 13209036"/>
              <a:gd name="connsiteY3" fmla="*/ 3369578 h 3370498"/>
              <a:gd name="connsiteX0" fmla="*/ 10663693 w 13209036"/>
              <a:gd name="connsiteY0" fmla="*/ 3369578 h 3369578"/>
              <a:gd name="connsiteX1" fmla="*/ 0 w 13209036"/>
              <a:gd name="connsiteY1" fmla="*/ 0 h 3369578"/>
              <a:gd name="connsiteX2" fmla="*/ 13201337 w 13209036"/>
              <a:gd name="connsiteY2" fmla="*/ 966988 h 3369578"/>
              <a:gd name="connsiteX3" fmla="*/ 10663693 w 13209036"/>
              <a:gd name="connsiteY3" fmla="*/ 3369578 h 33695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663693 w 13209036"/>
              <a:gd name="connsiteY0" fmla="*/ 3448278 h 3448278"/>
              <a:gd name="connsiteX1" fmla="*/ 0 w 13209036"/>
              <a:gd name="connsiteY1" fmla="*/ 78700 h 3448278"/>
              <a:gd name="connsiteX2" fmla="*/ 13201337 w 13209036"/>
              <a:gd name="connsiteY2" fmla="*/ 1045688 h 3448278"/>
              <a:gd name="connsiteX3" fmla="*/ 10663693 w 13209036"/>
              <a:gd name="connsiteY3" fmla="*/ 3448278 h 3448278"/>
              <a:gd name="connsiteX0" fmla="*/ 10516144 w 13061487"/>
              <a:gd name="connsiteY0" fmla="*/ 3520279 h 3520279"/>
              <a:gd name="connsiteX1" fmla="*/ 0 w 13061487"/>
              <a:gd name="connsiteY1" fmla="*/ 60333 h 3520279"/>
              <a:gd name="connsiteX2" fmla="*/ 13053788 w 13061487"/>
              <a:gd name="connsiteY2" fmla="*/ 1117689 h 3520279"/>
              <a:gd name="connsiteX3" fmla="*/ 10516144 w 13061487"/>
              <a:gd name="connsiteY3" fmla="*/ 3520279 h 3520279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3061487"/>
              <a:gd name="connsiteY0" fmla="*/ 3553800 h 3553800"/>
              <a:gd name="connsiteX1" fmla="*/ 0 w 13061487"/>
              <a:gd name="connsiteY1" fmla="*/ 93854 h 3553800"/>
              <a:gd name="connsiteX2" fmla="*/ 13053788 w 13061487"/>
              <a:gd name="connsiteY2" fmla="*/ 1151210 h 3553800"/>
              <a:gd name="connsiteX3" fmla="*/ 10516144 w 13061487"/>
              <a:gd name="connsiteY3" fmla="*/ 3553800 h 3553800"/>
              <a:gd name="connsiteX0" fmla="*/ 10516144 w 14078965"/>
              <a:gd name="connsiteY0" fmla="*/ 3562401 h 3562401"/>
              <a:gd name="connsiteX1" fmla="*/ 0 w 14078965"/>
              <a:gd name="connsiteY1" fmla="*/ 102455 h 3562401"/>
              <a:gd name="connsiteX2" fmla="*/ 14073220 w 14078965"/>
              <a:gd name="connsiteY2" fmla="*/ 1116779 h 3562401"/>
              <a:gd name="connsiteX3" fmla="*/ 10516144 w 14078965"/>
              <a:gd name="connsiteY3" fmla="*/ 3562401 h 3562401"/>
              <a:gd name="connsiteX0" fmla="*/ 10516144 w 11918173"/>
              <a:gd name="connsiteY0" fmla="*/ 4340762 h 4340762"/>
              <a:gd name="connsiteX1" fmla="*/ 0 w 11918173"/>
              <a:gd name="connsiteY1" fmla="*/ 880816 h 4340762"/>
              <a:gd name="connsiteX2" fmla="*/ 11905709 w 11918173"/>
              <a:gd name="connsiteY2" fmla="*/ 500894 h 4340762"/>
              <a:gd name="connsiteX3" fmla="*/ 10516144 w 11918173"/>
              <a:gd name="connsiteY3" fmla="*/ 4340762 h 4340762"/>
              <a:gd name="connsiteX0" fmla="*/ 10516144 w 11918173"/>
              <a:gd name="connsiteY0" fmla="*/ 4003419 h 4003419"/>
              <a:gd name="connsiteX1" fmla="*/ 0 w 11918173"/>
              <a:gd name="connsiteY1" fmla="*/ 543473 h 4003419"/>
              <a:gd name="connsiteX2" fmla="*/ 11905709 w 11918173"/>
              <a:gd name="connsiteY2" fmla="*/ 163551 h 4003419"/>
              <a:gd name="connsiteX3" fmla="*/ 10516144 w 11918173"/>
              <a:gd name="connsiteY3" fmla="*/ 4003419 h 4003419"/>
              <a:gd name="connsiteX0" fmla="*/ 10516144 w 11918173"/>
              <a:gd name="connsiteY0" fmla="*/ 4031703 h 4031703"/>
              <a:gd name="connsiteX1" fmla="*/ 0 w 11918173"/>
              <a:gd name="connsiteY1" fmla="*/ 571757 h 4031703"/>
              <a:gd name="connsiteX2" fmla="*/ 11905709 w 11918173"/>
              <a:gd name="connsiteY2" fmla="*/ 191835 h 4031703"/>
              <a:gd name="connsiteX3" fmla="*/ 10516144 w 11918173"/>
              <a:gd name="connsiteY3" fmla="*/ 4031703 h 4031703"/>
              <a:gd name="connsiteX0" fmla="*/ 11479484 w 11931722"/>
              <a:gd name="connsiteY0" fmla="*/ 3412040 h 3412040"/>
              <a:gd name="connsiteX1" fmla="*/ 0 w 11931722"/>
              <a:gd name="connsiteY1" fmla="*/ 571759 h 3412040"/>
              <a:gd name="connsiteX2" fmla="*/ 11905709 w 11931722"/>
              <a:gd name="connsiteY2" fmla="*/ 191837 h 3412040"/>
              <a:gd name="connsiteX3" fmla="*/ 11479484 w 11931722"/>
              <a:gd name="connsiteY3" fmla="*/ 3412040 h 3412040"/>
              <a:gd name="connsiteX0" fmla="*/ 11761981 w 12214219"/>
              <a:gd name="connsiteY0" fmla="*/ 3412040 h 3434823"/>
              <a:gd name="connsiteX1" fmla="*/ 3427582 w 12214219"/>
              <a:gd name="connsiteY1" fmla="*/ 1917474 h 3434823"/>
              <a:gd name="connsiteX2" fmla="*/ 282497 w 12214219"/>
              <a:gd name="connsiteY2" fmla="*/ 571759 h 3434823"/>
              <a:gd name="connsiteX3" fmla="*/ 12188206 w 12214219"/>
              <a:gd name="connsiteY3" fmla="*/ 191837 h 3434823"/>
              <a:gd name="connsiteX4" fmla="*/ 11761981 w 12214219"/>
              <a:gd name="connsiteY4" fmla="*/ 3412040 h 3434823"/>
              <a:gd name="connsiteX0" fmla="*/ 11761981 w 12214219"/>
              <a:gd name="connsiteY0" fmla="*/ 3412040 h 3428726"/>
              <a:gd name="connsiteX1" fmla="*/ 3427582 w 12214219"/>
              <a:gd name="connsiteY1" fmla="*/ 1917474 h 3428726"/>
              <a:gd name="connsiteX2" fmla="*/ 282497 w 12214219"/>
              <a:gd name="connsiteY2" fmla="*/ 571759 h 3428726"/>
              <a:gd name="connsiteX3" fmla="*/ 12188206 w 12214219"/>
              <a:gd name="connsiteY3" fmla="*/ 191837 h 3428726"/>
              <a:gd name="connsiteX4" fmla="*/ 11761981 w 12214219"/>
              <a:gd name="connsiteY4" fmla="*/ 3412040 h 3428726"/>
              <a:gd name="connsiteX0" fmla="*/ 17128299 w 17580537"/>
              <a:gd name="connsiteY0" fmla="*/ 3412040 h 3449646"/>
              <a:gd name="connsiteX1" fmla="*/ 123859 w 17580537"/>
              <a:gd name="connsiteY1" fmla="*/ 1194533 h 3449646"/>
              <a:gd name="connsiteX2" fmla="*/ 8793900 w 17580537"/>
              <a:gd name="connsiteY2" fmla="*/ 1917474 h 3449646"/>
              <a:gd name="connsiteX3" fmla="*/ 5648815 w 17580537"/>
              <a:gd name="connsiteY3" fmla="*/ 571759 h 3449646"/>
              <a:gd name="connsiteX4" fmla="*/ 17554524 w 17580537"/>
              <a:gd name="connsiteY4" fmla="*/ 191837 h 3449646"/>
              <a:gd name="connsiteX5" fmla="*/ 17128299 w 17580537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8670041 w 17456678"/>
              <a:gd name="connsiteY2" fmla="*/ 1917474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10741217 w 17456678"/>
              <a:gd name="connsiteY2" fmla="*/ 1211745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49646"/>
              <a:gd name="connsiteX1" fmla="*/ 0 w 17456678"/>
              <a:gd name="connsiteY1" fmla="*/ 1194533 h 3449646"/>
              <a:gd name="connsiteX2" fmla="*/ 10741217 w 17456678"/>
              <a:gd name="connsiteY2" fmla="*/ 1211745 h 3449646"/>
              <a:gd name="connsiteX3" fmla="*/ 5524956 w 17456678"/>
              <a:gd name="connsiteY3" fmla="*/ 571759 h 3449646"/>
              <a:gd name="connsiteX4" fmla="*/ 17430665 w 17456678"/>
              <a:gd name="connsiteY4" fmla="*/ 191837 h 3449646"/>
              <a:gd name="connsiteX5" fmla="*/ 17004440 w 17456678"/>
              <a:gd name="connsiteY5" fmla="*/ 3412040 h 3449646"/>
              <a:gd name="connsiteX0" fmla="*/ 17004440 w 17456678"/>
              <a:gd name="connsiteY0" fmla="*/ 3412040 h 3451435"/>
              <a:gd name="connsiteX1" fmla="*/ 0 w 17456678"/>
              <a:gd name="connsiteY1" fmla="*/ 1194533 h 3451435"/>
              <a:gd name="connsiteX2" fmla="*/ 10741217 w 17456678"/>
              <a:gd name="connsiteY2" fmla="*/ 1211745 h 3451435"/>
              <a:gd name="connsiteX3" fmla="*/ 5524956 w 17456678"/>
              <a:gd name="connsiteY3" fmla="*/ 571759 h 3451435"/>
              <a:gd name="connsiteX4" fmla="*/ 17430665 w 17456678"/>
              <a:gd name="connsiteY4" fmla="*/ 191837 h 3451435"/>
              <a:gd name="connsiteX5" fmla="*/ 17004440 w 17456678"/>
              <a:gd name="connsiteY5" fmla="*/ 3412040 h 3451435"/>
              <a:gd name="connsiteX0" fmla="*/ 17630610 w 17630610"/>
              <a:gd name="connsiteY0" fmla="*/ 2637459 h 2694787"/>
              <a:gd name="connsiteX1" fmla="*/ 0 w 17630610"/>
              <a:gd name="connsiteY1" fmla="*/ 1194533 h 2694787"/>
              <a:gd name="connsiteX2" fmla="*/ 10741217 w 17630610"/>
              <a:gd name="connsiteY2" fmla="*/ 1211745 h 2694787"/>
              <a:gd name="connsiteX3" fmla="*/ 5524956 w 17630610"/>
              <a:gd name="connsiteY3" fmla="*/ 571759 h 2694787"/>
              <a:gd name="connsiteX4" fmla="*/ 17430665 w 17630610"/>
              <a:gd name="connsiteY4" fmla="*/ 191837 h 2694787"/>
              <a:gd name="connsiteX5" fmla="*/ 17630610 w 17630610"/>
              <a:gd name="connsiteY5" fmla="*/ 2637459 h 2694787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0741217 w 17630610"/>
              <a:gd name="connsiteY2" fmla="*/ 1211745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7630610"/>
              <a:gd name="connsiteY0" fmla="*/ 2637459 h 2638152"/>
              <a:gd name="connsiteX1" fmla="*/ 0 w 17630610"/>
              <a:gd name="connsiteY1" fmla="*/ 1194533 h 2638152"/>
              <a:gd name="connsiteX2" fmla="*/ 10741217 w 17630610"/>
              <a:gd name="connsiteY2" fmla="*/ 1211745 h 2638152"/>
              <a:gd name="connsiteX3" fmla="*/ 5524956 w 17630610"/>
              <a:gd name="connsiteY3" fmla="*/ 571759 h 2638152"/>
              <a:gd name="connsiteX4" fmla="*/ 17430665 w 17630610"/>
              <a:gd name="connsiteY4" fmla="*/ 191837 h 2638152"/>
              <a:gd name="connsiteX5" fmla="*/ 17630610 w 17630610"/>
              <a:gd name="connsiteY5" fmla="*/ 2637459 h 2638152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0741217 w 17630610"/>
              <a:gd name="connsiteY2" fmla="*/ 1211745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7630610"/>
              <a:gd name="connsiteY0" fmla="*/ 2637459 h 2638152"/>
              <a:gd name="connsiteX1" fmla="*/ 0 w 17630610"/>
              <a:gd name="connsiteY1" fmla="*/ 1194533 h 2638152"/>
              <a:gd name="connsiteX2" fmla="*/ 13245896 w 17630610"/>
              <a:gd name="connsiteY2" fmla="*/ 1366660 h 2638152"/>
              <a:gd name="connsiteX3" fmla="*/ 5524956 w 17630610"/>
              <a:gd name="connsiteY3" fmla="*/ 571759 h 2638152"/>
              <a:gd name="connsiteX4" fmla="*/ 17430665 w 17630610"/>
              <a:gd name="connsiteY4" fmla="*/ 191837 h 2638152"/>
              <a:gd name="connsiteX5" fmla="*/ 17630610 w 17630610"/>
              <a:gd name="connsiteY5" fmla="*/ 2637459 h 2638152"/>
              <a:gd name="connsiteX0" fmla="*/ 17630610 w 17630610"/>
              <a:gd name="connsiteY0" fmla="*/ 2637459 h 2638150"/>
              <a:gd name="connsiteX1" fmla="*/ 0 w 17630610"/>
              <a:gd name="connsiteY1" fmla="*/ 1194533 h 2638150"/>
              <a:gd name="connsiteX2" fmla="*/ 16762079 w 17630610"/>
              <a:gd name="connsiteY2" fmla="*/ 1435512 h 2638150"/>
              <a:gd name="connsiteX3" fmla="*/ 5524956 w 17630610"/>
              <a:gd name="connsiteY3" fmla="*/ 571759 h 2638150"/>
              <a:gd name="connsiteX4" fmla="*/ 17430665 w 17630610"/>
              <a:gd name="connsiteY4" fmla="*/ 191837 h 2638150"/>
              <a:gd name="connsiteX5" fmla="*/ 17630610 w 17630610"/>
              <a:gd name="connsiteY5" fmla="*/ 2637459 h 2638150"/>
              <a:gd name="connsiteX0" fmla="*/ 17630610 w 19224133"/>
              <a:gd name="connsiteY0" fmla="*/ 2793207 h 2793900"/>
              <a:gd name="connsiteX1" fmla="*/ 0 w 19224133"/>
              <a:gd name="connsiteY1" fmla="*/ 1350281 h 2793900"/>
              <a:gd name="connsiteX2" fmla="*/ 16762079 w 19224133"/>
              <a:gd name="connsiteY2" fmla="*/ 1591260 h 2793900"/>
              <a:gd name="connsiteX3" fmla="*/ 5524956 w 19224133"/>
              <a:gd name="connsiteY3" fmla="*/ 727507 h 2793900"/>
              <a:gd name="connsiteX4" fmla="*/ 19212840 w 19224133"/>
              <a:gd name="connsiteY4" fmla="*/ 158244 h 2793900"/>
              <a:gd name="connsiteX5" fmla="*/ 17630610 w 19224133"/>
              <a:gd name="connsiteY5" fmla="*/ 2793207 h 2793900"/>
              <a:gd name="connsiteX0" fmla="*/ 18690282 w 19236293"/>
              <a:gd name="connsiteY0" fmla="*/ 3034188 h 3034759"/>
              <a:gd name="connsiteX1" fmla="*/ 0 w 19236293"/>
              <a:gd name="connsiteY1" fmla="*/ 1350281 h 3034759"/>
              <a:gd name="connsiteX2" fmla="*/ 16762079 w 19236293"/>
              <a:gd name="connsiteY2" fmla="*/ 1591260 h 3034759"/>
              <a:gd name="connsiteX3" fmla="*/ 5524956 w 19236293"/>
              <a:gd name="connsiteY3" fmla="*/ 727507 h 3034759"/>
              <a:gd name="connsiteX4" fmla="*/ 19212840 w 19236293"/>
              <a:gd name="connsiteY4" fmla="*/ 158244 h 3034759"/>
              <a:gd name="connsiteX5" fmla="*/ 18690282 w 19236293"/>
              <a:gd name="connsiteY5" fmla="*/ 3034188 h 3034759"/>
              <a:gd name="connsiteX0" fmla="*/ 18690282 w 19236293"/>
              <a:gd name="connsiteY0" fmla="*/ 3034188 h 3034757"/>
              <a:gd name="connsiteX1" fmla="*/ 0 w 19236293"/>
              <a:gd name="connsiteY1" fmla="*/ 1350281 h 3034757"/>
              <a:gd name="connsiteX2" fmla="*/ 16762079 w 19236293"/>
              <a:gd name="connsiteY2" fmla="*/ 1591260 h 3034757"/>
              <a:gd name="connsiteX3" fmla="*/ 5524956 w 19236293"/>
              <a:gd name="connsiteY3" fmla="*/ 727507 h 3034757"/>
              <a:gd name="connsiteX4" fmla="*/ 19212840 w 19236293"/>
              <a:gd name="connsiteY4" fmla="*/ 158244 h 3034757"/>
              <a:gd name="connsiteX5" fmla="*/ 18690282 w 19236293"/>
              <a:gd name="connsiteY5" fmla="*/ 3034188 h 3034757"/>
              <a:gd name="connsiteX0" fmla="*/ 18545781 w 19091792"/>
              <a:gd name="connsiteY0" fmla="*/ 3034188 h 3034737"/>
              <a:gd name="connsiteX1" fmla="*/ 0 w 19091792"/>
              <a:gd name="connsiteY1" fmla="*/ 1298642 h 3034737"/>
              <a:gd name="connsiteX2" fmla="*/ 16617578 w 19091792"/>
              <a:gd name="connsiteY2" fmla="*/ 1591260 h 3034737"/>
              <a:gd name="connsiteX3" fmla="*/ 5380455 w 19091792"/>
              <a:gd name="connsiteY3" fmla="*/ 727507 h 3034737"/>
              <a:gd name="connsiteX4" fmla="*/ 19068339 w 19091792"/>
              <a:gd name="connsiteY4" fmla="*/ 158244 h 3034737"/>
              <a:gd name="connsiteX5" fmla="*/ 18545781 w 19091792"/>
              <a:gd name="connsiteY5" fmla="*/ 3034188 h 3034737"/>
              <a:gd name="connsiteX0" fmla="*/ 18545781 w 19091792"/>
              <a:gd name="connsiteY0" fmla="*/ 3034188 h 3034737"/>
              <a:gd name="connsiteX1" fmla="*/ 0 w 19091792"/>
              <a:gd name="connsiteY1" fmla="*/ 1298642 h 3034737"/>
              <a:gd name="connsiteX2" fmla="*/ 16617578 w 19091792"/>
              <a:gd name="connsiteY2" fmla="*/ 1591260 h 3034737"/>
              <a:gd name="connsiteX3" fmla="*/ 5380455 w 19091792"/>
              <a:gd name="connsiteY3" fmla="*/ 727507 h 3034737"/>
              <a:gd name="connsiteX4" fmla="*/ 19068339 w 19091792"/>
              <a:gd name="connsiteY4" fmla="*/ 158244 h 3034737"/>
              <a:gd name="connsiteX5" fmla="*/ 18545781 w 19091792"/>
              <a:gd name="connsiteY5" fmla="*/ 3034188 h 3034737"/>
              <a:gd name="connsiteX0" fmla="*/ 18545781 w 19091792"/>
              <a:gd name="connsiteY0" fmla="*/ 3052587 h 3053136"/>
              <a:gd name="connsiteX1" fmla="*/ 0 w 19091792"/>
              <a:gd name="connsiteY1" fmla="*/ 1317041 h 3053136"/>
              <a:gd name="connsiteX2" fmla="*/ 16617578 w 19091792"/>
              <a:gd name="connsiteY2" fmla="*/ 1609659 h 3053136"/>
              <a:gd name="connsiteX3" fmla="*/ 5356372 w 19091792"/>
              <a:gd name="connsiteY3" fmla="*/ 634021 h 3053136"/>
              <a:gd name="connsiteX4" fmla="*/ 19068339 w 19091792"/>
              <a:gd name="connsiteY4" fmla="*/ 176643 h 3053136"/>
              <a:gd name="connsiteX5" fmla="*/ 18545781 w 19091792"/>
              <a:gd name="connsiteY5" fmla="*/ 3052587 h 3053136"/>
              <a:gd name="connsiteX0" fmla="*/ 18545781 w 19091792"/>
              <a:gd name="connsiteY0" fmla="*/ 3052587 h 3053136"/>
              <a:gd name="connsiteX1" fmla="*/ 0 w 19091792"/>
              <a:gd name="connsiteY1" fmla="*/ 1317041 h 3053136"/>
              <a:gd name="connsiteX2" fmla="*/ 16617578 w 19091792"/>
              <a:gd name="connsiteY2" fmla="*/ 1609659 h 3053136"/>
              <a:gd name="connsiteX3" fmla="*/ 5356372 w 19091792"/>
              <a:gd name="connsiteY3" fmla="*/ 634021 h 3053136"/>
              <a:gd name="connsiteX4" fmla="*/ 19068339 w 19091792"/>
              <a:gd name="connsiteY4" fmla="*/ 176643 h 3053136"/>
              <a:gd name="connsiteX5" fmla="*/ 18545781 w 19091792"/>
              <a:gd name="connsiteY5" fmla="*/ 3052587 h 3053136"/>
              <a:gd name="connsiteX0" fmla="*/ 18088196 w 18634207"/>
              <a:gd name="connsiteY0" fmla="*/ 3052587 h 3053060"/>
              <a:gd name="connsiteX1" fmla="*/ 0 w 18634207"/>
              <a:gd name="connsiteY1" fmla="*/ 1084667 h 3053060"/>
              <a:gd name="connsiteX2" fmla="*/ 16159993 w 18634207"/>
              <a:gd name="connsiteY2" fmla="*/ 1609659 h 3053060"/>
              <a:gd name="connsiteX3" fmla="*/ 4898787 w 18634207"/>
              <a:gd name="connsiteY3" fmla="*/ 634021 h 3053060"/>
              <a:gd name="connsiteX4" fmla="*/ 18610754 w 18634207"/>
              <a:gd name="connsiteY4" fmla="*/ 176643 h 3053060"/>
              <a:gd name="connsiteX5" fmla="*/ 18088196 w 18634207"/>
              <a:gd name="connsiteY5" fmla="*/ 3052587 h 3053060"/>
              <a:gd name="connsiteX0" fmla="*/ 18088196 w 18634207"/>
              <a:gd name="connsiteY0" fmla="*/ 3054166 h 3054637"/>
              <a:gd name="connsiteX1" fmla="*/ 0 w 18634207"/>
              <a:gd name="connsiteY1" fmla="*/ 1086246 h 3054637"/>
              <a:gd name="connsiteX2" fmla="*/ 16159993 w 18634207"/>
              <a:gd name="connsiteY2" fmla="*/ 1611238 h 3054637"/>
              <a:gd name="connsiteX3" fmla="*/ 4874703 w 18634207"/>
              <a:gd name="connsiteY3" fmla="*/ 626994 h 3054637"/>
              <a:gd name="connsiteX4" fmla="*/ 18610754 w 18634207"/>
              <a:gd name="connsiteY4" fmla="*/ 178222 h 3054637"/>
              <a:gd name="connsiteX5" fmla="*/ 18088196 w 18634207"/>
              <a:gd name="connsiteY5" fmla="*/ 3054166 h 3054637"/>
              <a:gd name="connsiteX0" fmla="*/ 17889508 w 18435519"/>
              <a:gd name="connsiteY0" fmla="*/ 3054166 h 3054620"/>
              <a:gd name="connsiteX1" fmla="*/ 0 w 18435519"/>
              <a:gd name="connsiteY1" fmla="*/ 1021698 h 3054620"/>
              <a:gd name="connsiteX2" fmla="*/ 15961305 w 18435519"/>
              <a:gd name="connsiteY2" fmla="*/ 1611238 h 3054620"/>
              <a:gd name="connsiteX3" fmla="*/ 4676015 w 18435519"/>
              <a:gd name="connsiteY3" fmla="*/ 626994 h 3054620"/>
              <a:gd name="connsiteX4" fmla="*/ 18412066 w 18435519"/>
              <a:gd name="connsiteY4" fmla="*/ 178222 h 3054620"/>
              <a:gd name="connsiteX5" fmla="*/ 17889508 w 18435519"/>
              <a:gd name="connsiteY5" fmla="*/ 3054166 h 3054620"/>
              <a:gd name="connsiteX0" fmla="*/ 17889508 w 18435519"/>
              <a:gd name="connsiteY0" fmla="*/ 3054166 h 3054617"/>
              <a:gd name="connsiteX1" fmla="*/ 0 w 18435519"/>
              <a:gd name="connsiteY1" fmla="*/ 1021698 h 3054617"/>
              <a:gd name="connsiteX2" fmla="*/ 15961305 w 18435519"/>
              <a:gd name="connsiteY2" fmla="*/ 1611238 h 3054617"/>
              <a:gd name="connsiteX3" fmla="*/ 4676015 w 18435519"/>
              <a:gd name="connsiteY3" fmla="*/ 626994 h 3054617"/>
              <a:gd name="connsiteX4" fmla="*/ 18412066 w 18435519"/>
              <a:gd name="connsiteY4" fmla="*/ 178222 h 3054617"/>
              <a:gd name="connsiteX5" fmla="*/ 17889508 w 18435519"/>
              <a:gd name="connsiteY5" fmla="*/ 3054166 h 3054617"/>
              <a:gd name="connsiteX0" fmla="*/ 17889508 w 18435519"/>
              <a:gd name="connsiteY0" fmla="*/ 3054166 h 3054617"/>
              <a:gd name="connsiteX1" fmla="*/ 0 w 18435519"/>
              <a:gd name="connsiteY1" fmla="*/ 1021698 h 3054617"/>
              <a:gd name="connsiteX2" fmla="*/ 15961305 w 18435519"/>
              <a:gd name="connsiteY2" fmla="*/ 1611238 h 3054617"/>
              <a:gd name="connsiteX3" fmla="*/ 4676015 w 18435519"/>
              <a:gd name="connsiteY3" fmla="*/ 626994 h 3054617"/>
              <a:gd name="connsiteX4" fmla="*/ 18412066 w 18435519"/>
              <a:gd name="connsiteY4" fmla="*/ 178222 h 3054617"/>
              <a:gd name="connsiteX5" fmla="*/ 17889508 w 18435519"/>
              <a:gd name="connsiteY5" fmla="*/ 3054166 h 3054617"/>
              <a:gd name="connsiteX0" fmla="*/ 17889508 w 18435519"/>
              <a:gd name="connsiteY0" fmla="*/ 3004093 h 3004544"/>
              <a:gd name="connsiteX1" fmla="*/ 0 w 18435519"/>
              <a:gd name="connsiteY1" fmla="*/ 971625 h 3004544"/>
              <a:gd name="connsiteX2" fmla="*/ 15961305 w 18435519"/>
              <a:gd name="connsiteY2" fmla="*/ 1561165 h 3004544"/>
              <a:gd name="connsiteX3" fmla="*/ 1533125 w 18435519"/>
              <a:gd name="connsiteY3" fmla="*/ 944847 h 3004544"/>
              <a:gd name="connsiteX4" fmla="*/ 18412066 w 18435519"/>
              <a:gd name="connsiteY4" fmla="*/ 128149 h 3004544"/>
              <a:gd name="connsiteX5" fmla="*/ 17889508 w 18435519"/>
              <a:gd name="connsiteY5" fmla="*/ 3004093 h 3004544"/>
              <a:gd name="connsiteX0" fmla="*/ 17889508 w 18435519"/>
              <a:gd name="connsiteY0" fmla="*/ 3004091 h 3004542"/>
              <a:gd name="connsiteX1" fmla="*/ 0 w 18435519"/>
              <a:gd name="connsiteY1" fmla="*/ 971623 h 3004542"/>
              <a:gd name="connsiteX2" fmla="*/ 15961305 w 18435519"/>
              <a:gd name="connsiteY2" fmla="*/ 1561163 h 3004542"/>
              <a:gd name="connsiteX3" fmla="*/ 1533125 w 18435519"/>
              <a:gd name="connsiteY3" fmla="*/ 944845 h 3004542"/>
              <a:gd name="connsiteX4" fmla="*/ 18412066 w 18435519"/>
              <a:gd name="connsiteY4" fmla="*/ 128147 h 3004542"/>
              <a:gd name="connsiteX5" fmla="*/ 17889508 w 18435519"/>
              <a:gd name="connsiteY5" fmla="*/ 3004091 h 3004542"/>
              <a:gd name="connsiteX0" fmla="*/ 17889508 w 18435519"/>
              <a:gd name="connsiteY0" fmla="*/ 3000615 h 3001066"/>
              <a:gd name="connsiteX1" fmla="*/ 0 w 18435519"/>
              <a:gd name="connsiteY1" fmla="*/ 968147 h 3001066"/>
              <a:gd name="connsiteX2" fmla="*/ 15961305 w 18435519"/>
              <a:gd name="connsiteY2" fmla="*/ 1557687 h 3001066"/>
              <a:gd name="connsiteX3" fmla="*/ 1533125 w 18435519"/>
              <a:gd name="connsiteY3" fmla="*/ 941369 h 3001066"/>
              <a:gd name="connsiteX4" fmla="*/ 18412066 w 18435519"/>
              <a:gd name="connsiteY4" fmla="*/ 124671 h 3001066"/>
              <a:gd name="connsiteX5" fmla="*/ 17889508 w 18435519"/>
              <a:gd name="connsiteY5" fmla="*/ 3000615 h 3001066"/>
              <a:gd name="connsiteX0" fmla="*/ 15360745 w 18418637"/>
              <a:gd name="connsiteY0" fmla="*/ 3387904 h 3388273"/>
              <a:gd name="connsiteX1" fmla="*/ 0 w 18418637"/>
              <a:gd name="connsiteY1" fmla="*/ 968145 h 3388273"/>
              <a:gd name="connsiteX2" fmla="*/ 15961305 w 18418637"/>
              <a:gd name="connsiteY2" fmla="*/ 1557685 h 3388273"/>
              <a:gd name="connsiteX3" fmla="*/ 1533125 w 18418637"/>
              <a:gd name="connsiteY3" fmla="*/ 941367 h 3388273"/>
              <a:gd name="connsiteX4" fmla="*/ 18412066 w 18418637"/>
              <a:gd name="connsiteY4" fmla="*/ 124669 h 3388273"/>
              <a:gd name="connsiteX5" fmla="*/ 15360745 w 18418637"/>
              <a:gd name="connsiteY5" fmla="*/ 3387904 h 3388273"/>
              <a:gd name="connsiteX0" fmla="*/ 15360745 w 18418637"/>
              <a:gd name="connsiteY0" fmla="*/ 3387904 h 3387904"/>
              <a:gd name="connsiteX1" fmla="*/ 0 w 18418637"/>
              <a:gd name="connsiteY1" fmla="*/ 968145 h 3387904"/>
              <a:gd name="connsiteX2" fmla="*/ 15961305 w 18418637"/>
              <a:gd name="connsiteY2" fmla="*/ 1557685 h 3387904"/>
              <a:gd name="connsiteX3" fmla="*/ 1533125 w 18418637"/>
              <a:gd name="connsiteY3" fmla="*/ 941367 h 3387904"/>
              <a:gd name="connsiteX4" fmla="*/ 18412066 w 18418637"/>
              <a:gd name="connsiteY4" fmla="*/ 124669 h 3387904"/>
              <a:gd name="connsiteX5" fmla="*/ 15360745 w 18418637"/>
              <a:gd name="connsiteY5" fmla="*/ 3387904 h 3387904"/>
              <a:gd name="connsiteX0" fmla="*/ 15360745 w 18418637"/>
              <a:gd name="connsiteY0" fmla="*/ 3387904 h 3387904"/>
              <a:gd name="connsiteX1" fmla="*/ 0 w 18418637"/>
              <a:gd name="connsiteY1" fmla="*/ 968145 h 3387904"/>
              <a:gd name="connsiteX2" fmla="*/ 15961305 w 18418637"/>
              <a:gd name="connsiteY2" fmla="*/ 1557685 h 3387904"/>
              <a:gd name="connsiteX3" fmla="*/ 1533125 w 18418637"/>
              <a:gd name="connsiteY3" fmla="*/ 941367 h 3387904"/>
              <a:gd name="connsiteX4" fmla="*/ 18412066 w 18418637"/>
              <a:gd name="connsiteY4" fmla="*/ 124669 h 3387904"/>
              <a:gd name="connsiteX5" fmla="*/ 15360745 w 18418637"/>
              <a:gd name="connsiteY5" fmla="*/ 3387904 h 3387904"/>
              <a:gd name="connsiteX0" fmla="*/ 15360745 w 18418637"/>
              <a:gd name="connsiteY0" fmla="*/ 3387904 h 3387904"/>
              <a:gd name="connsiteX1" fmla="*/ 0 w 18418637"/>
              <a:gd name="connsiteY1" fmla="*/ 968145 h 3387904"/>
              <a:gd name="connsiteX2" fmla="*/ 15551887 w 18418637"/>
              <a:gd name="connsiteY2" fmla="*/ 2022434 h 3387904"/>
              <a:gd name="connsiteX3" fmla="*/ 1533125 w 18418637"/>
              <a:gd name="connsiteY3" fmla="*/ 941367 h 3387904"/>
              <a:gd name="connsiteX4" fmla="*/ 18412066 w 18418637"/>
              <a:gd name="connsiteY4" fmla="*/ 124669 h 3387904"/>
              <a:gd name="connsiteX5" fmla="*/ 15360745 w 18418637"/>
              <a:gd name="connsiteY5" fmla="*/ 3387904 h 3387904"/>
              <a:gd name="connsiteX0" fmla="*/ 15360745 w 18226353"/>
              <a:gd name="connsiteY0" fmla="*/ 2598928 h 2598928"/>
              <a:gd name="connsiteX1" fmla="*/ 0 w 18226353"/>
              <a:gd name="connsiteY1" fmla="*/ 179169 h 2598928"/>
              <a:gd name="connsiteX2" fmla="*/ 15551887 w 18226353"/>
              <a:gd name="connsiteY2" fmla="*/ 1233458 h 2598928"/>
              <a:gd name="connsiteX3" fmla="*/ 1533125 w 18226353"/>
              <a:gd name="connsiteY3" fmla="*/ 152391 h 2598928"/>
              <a:gd name="connsiteX4" fmla="*/ 18219399 w 18226353"/>
              <a:gd name="connsiteY4" fmla="*/ 531990 h 2598928"/>
              <a:gd name="connsiteX5" fmla="*/ 15360745 w 18226353"/>
              <a:gd name="connsiteY5" fmla="*/ 2598928 h 2598928"/>
              <a:gd name="connsiteX0" fmla="*/ 15360745 w 18226353"/>
              <a:gd name="connsiteY0" fmla="*/ 2701833 h 2701833"/>
              <a:gd name="connsiteX1" fmla="*/ 0 w 18226353"/>
              <a:gd name="connsiteY1" fmla="*/ 282074 h 2701833"/>
              <a:gd name="connsiteX2" fmla="*/ 15551887 w 18226353"/>
              <a:gd name="connsiteY2" fmla="*/ 1336363 h 2701833"/>
              <a:gd name="connsiteX3" fmla="*/ 1533125 w 18226353"/>
              <a:gd name="connsiteY3" fmla="*/ 255296 h 2701833"/>
              <a:gd name="connsiteX4" fmla="*/ 18219399 w 18226353"/>
              <a:gd name="connsiteY4" fmla="*/ 634895 h 2701833"/>
              <a:gd name="connsiteX5" fmla="*/ 15360745 w 18226353"/>
              <a:gd name="connsiteY5" fmla="*/ 2701833 h 2701833"/>
              <a:gd name="connsiteX0" fmla="*/ 15360745 w 18226353"/>
              <a:gd name="connsiteY0" fmla="*/ 2701833 h 2701833"/>
              <a:gd name="connsiteX1" fmla="*/ 0 w 18226353"/>
              <a:gd name="connsiteY1" fmla="*/ 282074 h 2701833"/>
              <a:gd name="connsiteX2" fmla="*/ 15335135 w 18226353"/>
              <a:gd name="connsiteY2" fmla="*/ 1220175 h 2701833"/>
              <a:gd name="connsiteX3" fmla="*/ 1533125 w 18226353"/>
              <a:gd name="connsiteY3" fmla="*/ 255296 h 2701833"/>
              <a:gd name="connsiteX4" fmla="*/ 18219399 w 18226353"/>
              <a:gd name="connsiteY4" fmla="*/ 634895 h 2701833"/>
              <a:gd name="connsiteX5" fmla="*/ 15360745 w 18226353"/>
              <a:gd name="connsiteY5" fmla="*/ 2701833 h 2701833"/>
              <a:gd name="connsiteX0" fmla="*/ 15360745 w 18226353"/>
              <a:gd name="connsiteY0" fmla="*/ 2701833 h 2701833"/>
              <a:gd name="connsiteX1" fmla="*/ 0 w 18226353"/>
              <a:gd name="connsiteY1" fmla="*/ 282074 h 2701833"/>
              <a:gd name="connsiteX2" fmla="*/ 15335135 w 18226353"/>
              <a:gd name="connsiteY2" fmla="*/ 1220175 h 2701833"/>
              <a:gd name="connsiteX3" fmla="*/ 1533125 w 18226353"/>
              <a:gd name="connsiteY3" fmla="*/ 255296 h 2701833"/>
              <a:gd name="connsiteX4" fmla="*/ 18219399 w 18226353"/>
              <a:gd name="connsiteY4" fmla="*/ 634895 h 2701833"/>
              <a:gd name="connsiteX5" fmla="*/ 15360745 w 18226353"/>
              <a:gd name="connsiteY5" fmla="*/ 2701833 h 2701833"/>
              <a:gd name="connsiteX0" fmla="*/ 15360745 w 18226353"/>
              <a:gd name="connsiteY0" fmla="*/ 2701833 h 2701833"/>
              <a:gd name="connsiteX1" fmla="*/ 0 w 18226353"/>
              <a:gd name="connsiteY1" fmla="*/ 282074 h 2701833"/>
              <a:gd name="connsiteX2" fmla="*/ 15335135 w 18226353"/>
              <a:gd name="connsiteY2" fmla="*/ 1220175 h 2701833"/>
              <a:gd name="connsiteX3" fmla="*/ 1533125 w 18226353"/>
              <a:gd name="connsiteY3" fmla="*/ 255296 h 2701833"/>
              <a:gd name="connsiteX4" fmla="*/ 18219399 w 18226353"/>
              <a:gd name="connsiteY4" fmla="*/ 634895 h 2701833"/>
              <a:gd name="connsiteX5" fmla="*/ 15360745 w 18226353"/>
              <a:gd name="connsiteY5" fmla="*/ 2701833 h 2701833"/>
              <a:gd name="connsiteX0" fmla="*/ 15360745 w 18226353"/>
              <a:gd name="connsiteY0" fmla="*/ 2701833 h 2701833"/>
              <a:gd name="connsiteX1" fmla="*/ 0 w 18226353"/>
              <a:gd name="connsiteY1" fmla="*/ 282074 h 2701833"/>
              <a:gd name="connsiteX2" fmla="*/ 15335135 w 18226353"/>
              <a:gd name="connsiteY2" fmla="*/ 1220175 h 2701833"/>
              <a:gd name="connsiteX3" fmla="*/ 1533125 w 18226353"/>
              <a:gd name="connsiteY3" fmla="*/ 255296 h 2701833"/>
              <a:gd name="connsiteX4" fmla="*/ 18219399 w 18226353"/>
              <a:gd name="connsiteY4" fmla="*/ 634895 h 2701833"/>
              <a:gd name="connsiteX5" fmla="*/ 15360745 w 18226353"/>
              <a:gd name="connsiteY5" fmla="*/ 2701833 h 2701833"/>
              <a:gd name="connsiteX0" fmla="*/ 15162057 w 18225960"/>
              <a:gd name="connsiteY0" fmla="*/ 2146716 h 2146716"/>
              <a:gd name="connsiteX1" fmla="*/ 0 w 18225960"/>
              <a:gd name="connsiteY1" fmla="*/ 282074 h 2146716"/>
              <a:gd name="connsiteX2" fmla="*/ 15335135 w 18225960"/>
              <a:gd name="connsiteY2" fmla="*/ 1220175 h 2146716"/>
              <a:gd name="connsiteX3" fmla="*/ 1533125 w 18225960"/>
              <a:gd name="connsiteY3" fmla="*/ 255296 h 2146716"/>
              <a:gd name="connsiteX4" fmla="*/ 18219399 w 18225960"/>
              <a:gd name="connsiteY4" fmla="*/ 634895 h 2146716"/>
              <a:gd name="connsiteX5" fmla="*/ 15162057 w 18225960"/>
              <a:gd name="connsiteY5" fmla="*/ 2146716 h 2146716"/>
              <a:gd name="connsiteX0" fmla="*/ 15162057 w 18230895"/>
              <a:gd name="connsiteY0" fmla="*/ 2146716 h 2146716"/>
              <a:gd name="connsiteX1" fmla="*/ 0 w 18230895"/>
              <a:gd name="connsiteY1" fmla="*/ 282074 h 2146716"/>
              <a:gd name="connsiteX2" fmla="*/ 15335135 w 18230895"/>
              <a:gd name="connsiteY2" fmla="*/ 1220175 h 2146716"/>
              <a:gd name="connsiteX3" fmla="*/ 1533125 w 18230895"/>
              <a:gd name="connsiteY3" fmla="*/ 255296 h 2146716"/>
              <a:gd name="connsiteX4" fmla="*/ 18219399 w 18230895"/>
              <a:gd name="connsiteY4" fmla="*/ 634895 h 2146716"/>
              <a:gd name="connsiteX5" fmla="*/ 15162057 w 18230895"/>
              <a:gd name="connsiteY5" fmla="*/ 2146716 h 2146716"/>
              <a:gd name="connsiteX0" fmla="*/ 15162057 w 18230895"/>
              <a:gd name="connsiteY0" fmla="*/ 2146716 h 2146716"/>
              <a:gd name="connsiteX1" fmla="*/ 0 w 18230895"/>
              <a:gd name="connsiteY1" fmla="*/ 282074 h 2146716"/>
              <a:gd name="connsiteX2" fmla="*/ 15335135 w 18230895"/>
              <a:gd name="connsiteY2" fmla="*/ 1220175 h 2146716"/>
              <a:gd name="connsiteX3" fmla="*/ 1533125 w 18230895"/>
              <a:gd name="connsiteY3" fmla="*/ 255296 h 2146716"/>
              <a:gd name="connsiteX4" fmla="*/ 18219399 w 18230895"/>
              <a:gd name="connsiteY4" fmla="*/ 634895 h 2146716"/>
              <a:gd name="connsiteX5" fmla="*/ 15162057 w 18230895"/>
              <a:gd name="connsiteY5" fmla="*/ 2146716 h 2146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30895" h="2146716">
                <a:moveTo>
                  <a:pt x="15162057" y="2146716"/>
                </a:moveTo>
                <a:cubicBezTo>
                  <a:pt x="11255475" y="1800313"/>
                  <a:pt x="1476367" y="735571"/>
                  <a:pt x="0" y="282074"/>
                </a:cubicBezTo>
                <a:cubicBezTo>
                  <a:pt x="3379458" y="673086"/>
                  <a:pt x="12575940" y="1395692"/>
                  <a:pt x="15335135" y="1220175"/>
                </a:cubicBezTo>
                <a:cubicBezTo>
                  <a:pt x="12940222" y="832860"/>
                  <a:pt x="6226344" y="131584"/>
                  <a:pt x="1533125" y="255296"/>
                </a:cubicBezTo>
                <a:cubicBezTo>
                  <a:pt x="3241319" y="-77266"/>
                  <a:pt x="14264228" y="-205691"/>
                  <a:pt x="18219399" y="634895"/>
                </a:cubicBezTo>
                <a:cubicBezTo>
                  <a:pt x="18395003" y="1536851"/>
                  <a:pt x="16521772" y="1903153"/>
                  <a:pt x="15162057" y="2146716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 descr="Tela de computador&#10;&#10;Descrição gerada automaticamente com confiança média">
            <a:extLst>
              <a:ext uri="{FF2B5EF4-FFF2-40B4-BE49-F238E27FC236}">
                <a16:creationId xmlns:a16="http://schemas.microsoft.com/office/drawing/2014/main" id="{E405DD12-2C59-881F-9448-1500DAC4225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12792"/>
          <a:stretch/>
        </p:blipFill>
        <p:spPr>
          <a:xfrm>
            <a:off x="4771436" y="865195"/>
            <a:ext cx="4136336" cy="1706555"/>
          </a:xfrm>
          <a:prstGeom prst="rect">
            <a:avLst/>
          </a:prstGeom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41910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09E00746-0466-A3A7-093F-A67984E6C19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65827" y="559078"/>
            <a:ext cx="3874164" cy="228599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7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305454" y="804862"/>
            <a:ext cx="36630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inally tighten the heat recovery module with the </a:t>
            </a:r>
            <a:r>
              <a:rPr lang="en-US" sz="1400" dirty="0">
                <a:solidFill>
                  <a:srgbClr val="B50130"/>
                </a:solidFill>
              </a:rPr>
              <a:t>4 bolt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o compress the foa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2 bolts on the Upper Mounting B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1 bolt on the Lower Plat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1 bolt on the T-Plate Set</a:t>
            </a:r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id="{E9CAA226-9008-DA78-2DA8-E72957744BFF}"/>
              </a:ext>
            </a:extLst>
          </p:cNvPr>
          <p:cNvSpPr/>
          <p:nvPr/>
        </p:nvSpPr>
        <p:spPr>
          <a:xfrm>
            <a:off x="6608763" y="1581021"/>
            <a:ext cx="285880" cy="28588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Elipse 23">
            <a:extLst>
              <a:ext uri="{FF2B5EF4-FFF2-40B4-BE49-F238E27FC236}">
                <a16:creationId xmlns:a16="http://schemas.microsoft.com/office/drawing/2014/main" id="{AAAA34A2-34C6-5FD8-ABD3-E67C01917CDF}"/>
              </a:ext>
            </a:extLst>
          </p:cNvPr>
          <p:cNvSpPr/>
          <p:nvPr/>
        </p:nvSpPr>
        <p:spPr>
          <a:xfrm>
            <a:off x="6583998" y="729681"/>
            <a:ext cx="197802" cy="197802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Elipse 24">
            <a:extLst>
              <a:ext uri="{FF2B5EF4-FFF2-40B4-BE49-F238E27FC236}">
                <a16:creationId xmlns:a16="http://schemas.microsoft.com/office/drawing/2014/main" id="{09CEC3E4-B2FC-9945-74C1-F58E4FB8242A}"/>
              </a:ext>
            </a:extLst>
          </p:cNvPr>
          <p:cNvSpPr/>
          <p:nvPr/>
        </p:nvSpPr>
        <p:spPr>
          <a:xfrm>
            <a:off x="6302058" y="739206"/>
            <a:ext cx="197802" cy="197802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Triângulo isósceles 9">
            <a:extLst>
              <a:ext uri="{FF2B5EF4-FFF2-40B4-BE49-F238E27FC236}">
                <a16:creationId xmlns:a16="http://schemas.microsoft.com/office/drawing/2014/main" id="{6B238F7D-A6B1-9E59-5DED-124AD81F1074}"/>
              </a:ext>
            </a:extLst>
          </p:cNvPr>
          <p:cNvSpPr/>
          <p:nvPr/>
        </p:nvSpPr>
        <p:spPr>
          <a:xfrm>
            <a:off x="2103589" y="880110"/>
            <a:ext cx="4381031" cy="3073601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4244872"/>
              <a:gd name="connsiteY0" fmla="*/ 2191318 h 3024774"/>
              <a:gd name="connsiteX1" fmla="*/ 4244872 w 4244872"/>
              <a:gd name="connsiteY1" fmla="*/ 0 h 3024774"/>
              <a:gd name="connsiteX2" fmla="*/ 2183955 w 4244872"/>
              <a:gd name="connsiteY2" fmla="*/ 3024774 h 3024774"/>
              <a:gd name="connsiteX3" fmla="*/ 0 w 4244872"/>
              <a:gd name="connsiteY3" fmla="*/ 2191318 h 3024774"/>
              <a:gd name="connsiteX0" fmla="*/ 0 w 4244872"/>
              <a:gd name="connsiteY0" fmla="*/ 2191318 h 3067359"/>
              <a:gd name="connsiteX1" fmla="*/ 4244872 w 4244872"/>
              <a:gd name="connsiteY1" fmla="*/ 0 h 3067359"/>
              <a:gd name="connsiteX2" fmla="*/ 2054011 w 4244872"/>
              <a:gd name="connsiteY2" fmla="*/ 3067359 h 3067359"/>
              <a:gd name="connsiteX3" fmla="*/ 0 w 4244872"/>
              <a:gd name="connsiteY3" fmla="*/ 2191318 h 3067359"/>
              <a:gd name="connsiteX0" fmla="*/ 0 w 4244872"/>
              <a:gd name="connsiteY0" fmla="*/ 2191318 h 3067359"/>
              <a:gd name="connsiteX1" fmla="*/ 4244872 w 4244872"/>
              <a:gd name="connsiteY1" fmla="*/ 0 h 3067359"/>
              <a:gd name="connsiteX2" fmla="*/ 2054011 w 4244872"/>
              <a:gd name="connsiteY2" fmla="*/ 3067359 h 3067359"/>
              <a:gd name="connsiteX3" fmla="*/ 0 w 4244872"/>
              <a:gd name="connsiteY3" fmla="*/ 2191318 h 3067359"/>
              <a:gd name="connsiteX0" fmla="*/ 0 w 4244872"/>
              <a:gd name="connsiteY0" fmla="*/ 2191318 h 3067359"/>
              <a:gd name="connsiteX1" fmla="*/ 4244872 w 4244872"/>
              <a:gd name="connsiteY1" fmla="*/ 0 h 3067359"/>
              <a:gd name="connsiteX2" fmla="*/ 2054011 w 4244872"/>
              <a:gd name="connsiteY2" fmla="*/ 3067359 h 3067359"/>
              <a:gd name="connsiteX3" fmla="*/ 0 w 4244872"/>
              <a:gd name="connsiteY3" fmla="*/ 2191318 h 3067359"/>
              <a:gd name="connsiteX0" fmla="*/ 0 w 4244872"/>
              <a:gd name="connsiteY0" fmla="*/ 2191318 h 3067359"/>
              <a:gd name="connsiteX1" fmla="*/ 4244872 w 4244872"/>
              <a:gd name="connsiteY1" fmla="*/ 0 h 3067359"/>
              <a:gd name="connsiteX2" fmla="*/ 2054011 w 4244872"/>
              <a:gd name="connsiteY2" fmla="*/ 3067359 h 3067359"/>
              <a:gd name="connsiteX3" fmla="*/ 0 w 4244872"/>
              <a:gd name="connsiteY3" fmla="*/ 2191318 h 30673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4872" h="3067359">
                <a:moveTo>
                  <a:pt x="0" y="2191318"/>
                </a:moveTo>
                <a:cubicBezTo>
                  <a:pt x="498781" y="936875"/>
                  <a:pt x="2962963" y="83587"/>
                  <a:pt x="4244872" y="0"/>
                </a:cubicBezTo>
                <a:cubicBezTo>
                  <a:pt x="3458387" y="337168"/>
                  <a:pt x="2393166" y="1148852"/>
                  <a:pt x="2054011" y="3067359"/>
                </a:cubicBezTo>
                <a:lnTo>
                  <a:pt x="0" y="2191318"/>
                </a:ln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5400000" scaled="1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Triângulo isósceles 9">
            <a:extLst>
              <a:ext uri="{FF2B5EF4-FFF2-40B4-BE49-F238E27FC236}">
                <a16:creationId xmlns:a16="http://schemas.microsoft.com/office/drawing/2014/main" id="{B117E76D-2C9B-DBC0-B258-DC322B8B94DC}"/>
              </a:ext>
            </a:extLst>
          </p:cNvPr>
          <p:cNvSpPr/>
          <p:nvPr/>
        </p:nvSpPr>
        <p:spPr>
          <a:xfrm flipH="1">
            <a:off x="6378220" y="1737724"/>
            <a:ext cx="1282358" cy="1974362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66708" h="3344934">
                <a:moveTo>
                  <a:pt x="169034" y="3344934"/>
                </a:moveTo>
                <a:cubicBezTo>
                  <a:pt x="-488305" y="1450171"/>
                  <a:pt x="849022" y="192332"/>
                  <a:pt x="2838978" y="0"/>
                </a:cubicBezTo>
                <a:cubicBezTo>
                  <a:pt x="1554129" y="825378"/>
                  <a:pt x="1889970" y="1990508"/>
                  <a:pt x="4266708" y="2807891"/>
                </a:cubicBezTo>
                <a:lnTo>
                  <a:pt x="169034" y="3344934"/>
                </a:ln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5400000" scaled="1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1" name="Imagem 20" descr="Diagrama&#10;&#10;Descrição gerada automaticamente">
            <a:extLst>
              <a:ext uri="{FF2B5EF4-FFF2-40B4-BE49-F238E27FC236}">
                <a16:creationId xmlns:a16="http://schemas.microsoft.com/office/drawing/2014/main" id="{668210EE-1BC3-965A-64BA-5E59969DB5E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5770" y="2857614"/>
            <a:ext cx="3933344" cy="1903545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383D46D5-BF93-3940-50DE-7A69666EA2AA}"/>
              </a:ext>
            </a:extLst>
          </p:cNvPr>
          <p:cNvSpPr txBox="1"/>
          <p:nvPr/>
        </p:nvSpPr>
        <p:spPr>
          <a:xfrm>
            <a:off x="425770" y="2566172"/>
            <a:ext cx="778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rgbClr val="002060"/>
                </a:solidFill>
              </a:rPr>
              <a:t>2 bolts</a:t>
            </a:r>
          </a:p>
        </p:txBody>
      </p:sp>
      <p:cxnSp>
        <p:nvCxnSpPr>
          <p:cNvPr id="35" name="Conector: Angulado 34">
            <a:extLst>
              <a:ext uri="{FF2B5EF4-FFF2-40B4-BE49-F238E27FC236}">
                <a16:creationId xmlns:a16="http://schemas.microsoft.com/office/drawing/2014/main" id="{48C537AF-B208-EA93-AAFC-E28125D57872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1204521" y="2735449"/>
            <a:ext cx="555177" cy="622186"/>
          </a:xfrm>
          <a:prstGeom prst="bentConnector2">
            <a:avLst/>
          </a:prstGeom>
          <a:ln w="12700">
            <a:solidFill>
              <a:srgbClr val="002060"/>
            </a:solidFill>
            <a:prstDash val="sysDash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: Angulado 37">
            <a:extLst>
              <a:ext uri="{FF2B5EF4-FFF2-40B4-BE49-F238E27FC236}">
                <a16:creationId xmlns:a16="http://schemas.microsoft.com/office/drawing/2014/main" id="{709C4127-818B-A786-1B7A-EF20F9C92257}"/>
              </a:ext>
            </a:extLst>
          </p:cNvPr>
          <p:cNvCxnSpPr>
            <a:cxnSpLocks/>
            <a:stCxn id="26" idx="3"/>
          </p:cNvCxnSpPr>
          <p:nvPr/>
        </p:nvCxnSpPr>
        <p:spPr>
          <a:xfrm>
            <a:off x="1204521" y="2735449"/>
            <a:ext cx="2237814" cy="551701"/>
          </a:xfrm>
          <a:prstGeom prst="bentConnector3">
            <a:avLst>
              <a:gd name="adj1" fmla="val 99885"/>
            </a:avLst>
          </a:prstGeom>
          <a:ln w="12700">
            <a:solidFill>
              <a:srgbClr val="002060"/>
            </a:solidFill>
            <a:prstDash val="sysDash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 descr="Diagrama&#10;&#10;Descrição gerada automaticamente">
            <a:extLst>
              <a:ext uri="{FF2B5EF4-FFF2-40B4-BE49-F238E27FC236}">
                <a16:creationId xmlns:a16="http://schemas.microsoft.com/office/drawing/2014/main" id="{98CE6588-70C9-E8D7-808A-A14C2D9911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874" b="19177"/>
          <a:stretch/>
        </p:blipFill>
        <p:spPr>
          <a:xfrm>
            <a:off x="4784885" y="2857614"/>
            <a:ext cx="3933345" cy="1903546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3AC66ABE-E421-CEB4-204E-0E0E848C1806}"/>
              </a:ext>
            </a:extLst>
          </p:cNvPr>
          <p:cNvSpPr txBox="1"/>
          <p:nvPr/>
        </p:nvSpPr>
        <p:spPr>
          <a:xfrm>
            <a:off x="4687096" y="2566172"/>
            <a:ext cx="778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rgbClr val="002060"/>
                </a:solidFill>
              </a:rPr>
              <a:t>1 bolt</a:t>
            </a:r>
          </a:p>
        </p:txBody>
      </p:sp>
      <p:cxnSp>
        <p:nvCxnSpPr>
          <p:cNvPr id="31" name="Conector: Angulado 30">
            <a:extLst>
              <a:ext uri="{FF2B5EF4-FFF2-40B4-BE49-F238E27FC236}">
                <a16:creationId xmlns:a16="http://schemas.microsoft.com/office/drawing/2014/main" id="{5DAC8193-B0B4-C829-C6E4-E4864B70D37A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5465847" y="2735449"/>
            <a:ext cx="1142916" cy="1067102"/>
          </a:xfrm>
          <a:prstGeom prst="bentConnector3">
            <a:avLst>
              <a:gd name="adj1" fmla="val 100004"/>
            </a:avLst>
          </a:prstGeom>
          <a:ln w="12700">
            <a:solidFill>
              <a:srgbClr val="002060"/>
            </a:solidFill>
            <a:prstDash val="sysDash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300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C541801B-7979-DD75-F1DD-22FF52EA9F9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72000" y="299766"/>
            <a:ext cx="4476295" cy="3745267"/>
          </a:xfrm>
          <a:prstGeom prst="rect">
            <a:avLst/>
          </a:prstGeom>
        </p:spPr>
      </p:pic>
      <p:sp>
        <p:nvSpPr>
          <p:cNvPr id="16" name="Elipse 15">
            <a:extLst>
              <a:ext uri="{FF2B5EF4-FFF2-40B4-BE49-F238E27FC236}">
                <a16:creationId xmlns:a16="http://schemas.microsoft.com/office/drawing/2014/main" id="{A9BEE78E-E7FC-C718-5AB5-7ED2460C0027}"/>
              </a:ext>
            </a:extLst>
          </p:cNvPr>
          <p:cNvSpPr/>
          <p:nvPr/>
        </p:nvSpPr>
        <p:spPr>
          <a:xfrm>
            <a:off x="6669723" y="2500273"/>
            <a:ext cx="285880" cy="285880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8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305454" y="804862"/>
            <a:ext cx="36630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inally tighten the heat recovery module with the </a:t>
            </a:r>
            <a:r>
              <a:rPr lang="en-US" sz="1400" dirty="0">
                <a:solidFill>
                  <a:srgbClr val="B50130"/>
                </a:solidFill>
              </a:rPr>
              <a:t>4 bolt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o compress the foa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2 bolts on the Upper Mounting B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1 bolt on the Lower Plat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1 bolt on the T-Plate Set</a:t>
            </a:r>
          </a:p>
        </p:txBody>
      </p:sp>
      <p:sp>
        <p:nvSpPr>
          <p:cNvPr id="11" name="Triângulo isósceles 9">
            <a:extLst>
              <a:ext uri="{FF2B5EF4-FFF2-40B4-BE49-F238E27FC236}">
                <a16:creationId xmlns:a16="http://schemas.microsoft.com/office/drawing/2014/main" id="{6C8A77FE-FD33-862D-D2EF-AEA1DFBDA0E3}"/>
              </a:ext>
            </a:extLst>
          </p:cNvPr>
          <p:cNvSpPr/>
          <p:nvPr/>
        </p:nvSpPr>
        <p:spPr>
          <a:xfrm flipH="1">
            <a:off x="2854112" y="2659719"/>
            <a:ext cx="3940177" cy="1803744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031565 w 13226738"/>
              <a:gd name="connsiteY0" fmla="*/ 3338444 h 3407661"/>
              <a:gd name="connsiteX1" fmla="*/ 0 w 13226738"/>
              <a:gd name="connsiteY1" fmla="*/ 351787 h 3407661"/>
              <a:gd name="connsiteX2" fmla="*/ 13189300 w 13226738"/>
              <a:gd name="connsiteY2" fmla="*/ 0 h 3407661"/>
              <a:gd name="connsiteX3" fmla="*/ 13031565 w 13226738"/>
              <a:gd name="connsiteY3" fmla="*/ 3338444 h 3407661"/>
              <a:gd name="connsiteX0" fmla="*/ 13031565 w 13109902"/>
              <a:gd name="connsiteY0" fmla="*/ 2986657 h 3055874"/>
              <a:gd name="connsiteX1" fmla="*/ 0 w 13109902"/>
              <a:gd name="connsiteY1" fmla="*/ 0 h 3055874"/>
              <a:gd name="connsiteX2" fmla="*/ 13062532 w 13109902"/>
              <a:gd name="connsiteY2" fmla="*/ 9684 h 3055874"/>
              <a:gd name="connsiteX3" fmla="*/ 13031565 w 13109902"/>
              <a:gd name="connsiteY3" fmla="*/ 2986657 h 305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109902" h="3055874">
                <a:moveTo>
                  <a:pt x="13031565" y="2986657"/>
                </a:moveTo>
                <a:cubicBezTo>
                  <a:pt x="10143114" y="3508586"/>
                  <a:pt x="722872" y="937867"/>
                  <a:pt x="0" y="0"/>
                </a:cubicBezTo>
                <a:cubicBezTo>
                  <a:pt x="1808283" y="438087"/>
                  <a:pt x="9520013" y="1159982"/>
                  <a:pt x="13062532" y="9684"/>
                </a:cubicBezTo>
                <a:cubicBezTo>
                  <a:pt x="13238136" y="911640"/>
                  <a:pt x="12855961" y="2084701"/>
                  <a:pt x="13031565" y="2986657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0" name="Imagem 9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5E69BFBF-3A67-A50B-06F9-08112E17C1C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1623" t="1284" r="11401" b="10379"/>
          <a:stretch/>
        </p:blipFill>
        <p:spPr>
          <a:xfrm>
            <a:off x="305454" y="2571750"/>
            <a:ext cx="3702666" cy="2055854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0719C81E-AF76-B339-6E21-A52E3BB0F13A}"/>
              </a:ext>
            </a:extLst>
          </p:cNvPr>
          <p:cNvSpPr txBox="1"/>
          <p:nvPr/>
        </p:nvSpPr>
        <p:spPr>
          <a:xfrm>
            <a:off x="211008" y="2281462"/>
            <a:ext cx="7787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rgbClr val="002060"/>
                </a:solidFill>
              </a:rPr>
              <a:t>1 bolt</a:t>
            </a:r>
          </a:p>
        </p:txBody>
      </p:sp>
      <p:cxnSp>
        <p:nvCxnSpPr>
          <p:cNvPr id="14" name="Conector: Angulado 13">
            <a:extLst>
              <a:ext uri="{FF2B5EF4-FFF2-40B4-BE49-F238E27FC236}">
                <a16:creationId xmlns:a16="http://schemas.microsoft.com/office/drawing/2014/main" id="{96A6636B-9ED5-B11C-DF07-7B23282688B5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989759" y="2450739"/>
            <a:ext cx="693500" cy="942701"/>
          </a:xfrm>
          <a:prstGeom prst="bentConnector2">
            <a:avLst/>
          </a:prstGeom>
          <a:ln w="12700">
            <a:solidFill>
              <a:srgbClr val="002060"/>
            </a:solidFill>
            <a:prstDash val="sysDash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047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aixaDeTexto 30">
            <a:extLst>
              <a:ext uri="{FF2B5EF4-FFF2-40B4-BE49-F238E27FC236}">
                <a16:creationId xmlns:a16="http://schemas.microsoft.com/office/drawing/2014/main" id="{13D33A8E-145A-7CAB-3FB3-9E3DFFE99039}"/>
              </a:ext>
            </a:extLst>
          </p:cNvPr>
          <p:cNvSpPr txBox="1"/>
          <p:nvPr/>
        </p:nvSpPr>
        <p:spPr>
          <a:xfrm>
            <a:off x="305454" y="804862"/>
            <a:ext cx="366304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inally tighten the heat recovery module with the </a:t>
            </a:r>
            <a:r>
              <a:rPr lang="en-US" sz="1400" dirty="0">
                <a:solidFill>
                  <a:srgbClr val="B50130"/>
                </a:solidFill>
              </a:rPr>
              <a:t>4 bolts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o compress the foam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2 bolts on the Upper Mounting B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1 bolt on the Lower Plate S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85000"/>
                  </a:schemeClr>
                </a:solidFill>
              </a:rPr>
              <a:t>1 bolt on the T-Plate Set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9</a:t>
            </a:fld>
            <a:r>
              <a:rPr lang="en-US"/>
              <a:t> |</a:t>
            </a:r>
            <a:endParaRPr lang="fr-FR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0387F5D8-19B0-20B9-BDCD-AECA527F3E0F}"/>
              </a:ext>
            </a:extLst>
          </p:cNvPr>
          <p:cNvGrpSpPr/>
          <p:nvPr/>
        </p:nvGrpSpPr>
        <p:grpSpPr>
          <a:xfrm>
            <a:off x="382328" y="2082323"/>
            <a:ext cx="3586168" cy="793546"/>
            <a:chOff x="4922519" y="4214134"/>
            <a:chExt cx="3586168" cy="793546"/>
          </a:xfrm>
        </p:grpSpPr>
        <p:sp>
          <p:nvSpPr>
            <p:cNvPr id="19" name="Retângulo 18">
              <a:extLst>
                <a:ext uri="{FF2B5EF4-FFF2-40B4-BE49-F238E27FC236}">
                  <a16:creationId xmlns:a16="http://schemas.microsoft.com/office/drawing/2014/main" id="{6F5DBCC6-DA3A-D756-179A-95911698D26D}"/>
                </a:ext>
              </a:extLst>
            </p:cNvPr>
            <p:cNvSpPr/>
            <p:nvPr/>
          </p:nvSpPr>
          <p:spPr>
            <a:xfrm>
              <a:off x="4922519" y="4214134"/>
              <a:ext cx="3586168" cy="79354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0" name="Agrupar 19">
              <a:extLst>
                <a:ext uri="{FF2B5EF4-FFF2-40B4-BE49-F238E27FC236}">
                  <a16:creationId xmlns:a16="http://schemas.microsoft.com/office/drawing/2014/main" id="{C2E7D562-2366-16F4-5F94-95450DBEB503}"/>
                </a:ext>
              </a:extLst>
            </p:cNvPr>
            <p:cNvGrpSpPr/>
            <p:nvPr/>
          </p:nvGrpSpPr>
          <p:grpSpPr>
            <a:xfrm>
              <a:off x="5034706" y="4241575"/>
              <a:ext cx="3399190" cy="738664"/>
              <a:chOff x="326517" y="2539194"/>
              <a:chExt cx="3399190" cy="738664"/>
            </a:xfrm>
          </p:grpSpPr>
          <p:pic>
            <p:nvPicPr>
              <p:cNvPr id="21" name="Gráfico 20" descr="Aviso com preenchimento sólido">
                <a:extLst>
                  <a:ext uri="{FF2B5EF4-FFF2-40B4-BE49-F238E27FC236}">
                    <a16:creationId xmlns:a16="http://schemas.microsoft.com/office/drawing/2014/main" id="{89FD923D-2106-77AA-2020-FF43ED188B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26517" y="2601797"/>
                <a:ext cx="613458" cy="613458"/>
              </a:xfrm>
              <a:prstGeom prst="rect">
                <a:avLst/>
              </a:prstGeom>
            </p:spPr>
          </p:pic>
          <p:sp>
            <p:nvSpPr>
              <p:cNvPr id="22" name="CaixaDeTexto 21">
                <a:extLst>
                  <a:ext uri="{FF2B5EF4-FFF2-40B4-BE49-F238E27FC236}">
                    <a16:creationId xmlns:a16="http://schemas.microsoft.com/office/drawing/2014/main" id="{2C0FA7CB-BEC2-9995-E94A-F7FEF4ABFE0B}"/>
                  </a:ext>
                </a:extLst>
              </p:cNvPr>
              <p:cNvSpPr txBox="1"/>
              <p:nvPr/>
            </p:nvSpPr>
            <p:spPr>
              <a:xfrm>
                <a:off x="1052162" y="2539194"/>
                <a:ext cx="2673545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</a:rPr>
                  <a:t>Make sure that the foam from the Heat Recovery Module is </a:t>
                </a:r>
                <a:r>
                  <a:rPr lang="en-US" sz="1400" dirty="0">
                    <a:solidFill>
                      <a:srgbClr val="B50130"/>
                    </a:solidFill>
                  </a:rPr>
                  <a:t>compressed to 8mm </a:t>
                </a:r>
                <a:r>
                  <a:rPr lang="en-US" sz="1400" dirty="0">
                    <a:solidFill>
                      <a:schemeClr val="bg1">
                        <a:lumMod val="50000"/>
                      </a:schemeClr>
                    </a:solidFill>
                  </a:rPr>
                  <a:t>(average)</a:t>
                </a:r>
              </a:p>
            </p:txBody>
          </p:sp>
        </p:grpSp>
      </p:grpSp>
      <p:pic>
        <p:nvPicPr>
          <p:cNvPr id="18" name="Imagem 17" descr="Diagrama, Desenho técnico&#10;&#10;Descrição gerada automaticamente">
            <a:extLst>
              <a:ext uri="{FF2B5EF4-FFF2-40B4-BE49-F238E27FC236}">
                <a16:creationId xmlns:a16="http://schemas.microsoft.com/office/drawing/2014/main" id="{5D53ED9C-CDA7-02C2-32E0-6FE464C2CC1C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72000" y="1021043"/>
            <a:ext cx="4476295" cy="3745267"/>
          </a:xfrm>
          <a:prstGeom prst="rect">
            <a:avLst/>
          </a:prstGeom>
        </p:spPr>
      </p:pic>
      <p:pic>
        <p:nvPicPr>
          <p:cNvPr id="23" name="Imagem 22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3468EF8E-278C-4314-4DDC-52FBC810E2B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1200" y="2945357"/>
            <a:ext cx="2281403" cy="2170702"/>
          </a:xfrm>
          <a:prstGeom prst="rect">
            <a:avLst/>
          </a:prstGeom>
        </p:spPr>
      </p:pic>
      <p:sp>
        <p:nvSpPr>
          <p:cNvPr id="24" name="Seta: para Baixo 23">
            <a:extLst>
              <a:ext uri="{FF2B5EF4-FFF2-40B4-BE49-F238E27FC236}">
                <a16:creationId xmlns:a16="http://schemas.microsoft.com/office/drawing/2014/main" id="{783DACCA-7CFB-7821-A7BE-02449B6BCE8C}"/>
              </a:ext>
            </a:extLst>
          </p:cNvPr>
          <p:cNvSpPr/>
          <p:nvPr/>
        </p:nvSpPr>
        <p:spPr>
          <a:xfrm rot="6793298">
            <a:off x="3252168" y="3635631"/>
            <a:ext cx="317401" cy="585763"/>
          </a:xfrm>
          <a:prstGeom prst="downArrow">
            <a:avLst/>
          </a:prstGeom>
          <a:solidFill>
            <a:srgbClr val="B5013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16E2B101-F6D7-E8DF-E3E4-F5F3986D353C}"/>
              </a:ext>
            </a:extLst>
          </p:cNvPr>
          <p:cNvCxnSpPr>
            <a:cxnSpLocks/>
          </p:cNvCxnSpPr>
          <p:nvPr/>
        </p:nvCxnSpPr>
        <p:spPr>
          <a:xfrm>
            <a:off x="6817767" y="2210987"/>
            <a:ext cx="0" cy="1116330"/>
          </a:xfrm>
          <a:prstGeom prst="line">
            <a:avLst/>
          </a:prstGeom>
          <a:ln w="28575" cap="rnd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C3D004E6-BC71-D686-E725-C51D9D513CD4}"/>
              </a:ext>
            </a:extLst>
          </p:cNvPr>
          <p:cNvCxnSpPr>
            <a:cxnSpLocks/>
          </p:cNvCxnSpPr>
          <p:nvPr/>
        </p:nvCxnSpPr>
        <p:spPr>
          <a:xfrm flipH="1">
            <a:off x="6817767" y="1845227"/>
            <a:ext cx="809853" cy="365760"/>
          </a:xfrm>
          <a:prstGeom prst="line">
            <a:avLst/>
          </a:prstGeom>
          <a:ln w="28575" cap="rnd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64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01DD93CD-5277-AC52-1D6E-9D025527EDD5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89528" y="1352671"/>
            <a:ext cx="4236262" cy="3438763"/>
          </a:xfrm>
          <a:prstGeom prst="rect">
            <a:avLst/>
          </a:prstGeom>
        </p:spPr>
      </p:pic>
      <p:pic>
        <p:nvPicPr>
          <p:cNvPr id="10" name="Imagem 9" descr="Diagrama, Desenho técnico&#10;&#10;Descrição gerada automaticamente">
            <a:extLst>
              <a:ext uri="{FF2B5EF4-FFF2-40B4-BE49-F238E27FC236}">
                <a16:creationId xmlns:a16="http://schemas.microsoft.com/office/drawing/2014/main" id="{9FC816F8-E14E-9DBC-3B4F-967910DAD37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18210" y="1352672"/>
            <a:ext cx="4253108" cy="343876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3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BAC87781-C866-B35F-F34E-739EF9D6C125}"/>
              </a:ext>
            </a:extLst>
          </p:cNvPr>
          <p:cNvSpPr txBox="1"/>
          <p:nvPr/>
        </p:nvSpPr>
        <p:spPr>
          <a:xfrm>
            <a:off x="254390" y="816797"/>
            <a:ext cx="5252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Once the </a:t>
            </a:r>
            <a:r>
              <a:rPr lang="en-US" sz="1400" dirty="0">
                <a:solidFill>
                  <a:srgbClr val="B50130"/>
                </a:solidFill>
              </a:rPr>
              <a:t>Flow Curb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is installed, fix the brackets (5 pieces) on the curb with 24 screws (6x16mm), before installing the rooftop.</a:t>
            </a:r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889C69B3-1136-6D4D-1FC7-D31E1D00908D}"/>
              </a:ext>
            </a:extLst>
          </p:cNvPr>
          <p:cNvSpPr/>
          <p:nvPr/>
        </p:nvSpPr>
        <p:spPr>
          <a:xfrm>
            <a:off x="4385651" y="3080825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532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 descr="Diagrama, Desenho técnico&#10;&#10;Descrição gerada automaticamente">
            <a:extLst>
              <a:ext uri="{FF2B5EF4-FFF2-40B4-BE49-F238E27FC236}">
                <a16:creationId xmlns:a16="http://schemas.microsoft.com/office/drawing/2014/main" id="{5217A4BA-E878-9DA2-3F98-2F07A521ED7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75379" y="1004555"/>
            <a:ext cx="4497140" cy="3762708"/>
          </a:xfrm>
          <a:prstGeom prst="rect">
            <a:avLst/>
          </a:prstGeom>
        </p:spPr>
      </p:pic>
      <p:sp>
        <p:nvSpPr>
          <p:cNvPr id="14" name="Elipse 13">
            <a:extLst>
              <a:ext uri="{FF2B5EF4-FFF2-40B4-BE49-F238E27FC236}">
                <a16:creationId xmlns:a16="http://schemas.microsoft.com/office/drawing/2014/main" id="{A8FA211A-E2BD-A837-9DEE-70F560A3604A}"/>
              </a:ext>
            </a:extLst>
          </p:cNvPr>
          <p:cNvSpPr/>
          <p:nvPr/>
        </p:nvSpPr>
        <p:spPr>
          <a:xfrm>
            <a:off x="6964304" y="2299504"/>
            <a:ext cx="340826" cy="340826"/>
          </a:xfrm>
          <a:prstGeom prst="ellipse">
            <a:avLst/>
          </a:prstGeom>
          <a:noFill/>
          <a:ln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30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1670098" y="1323537"/>
            <a:ext cx="31572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or the air pressure switch, connect and tighten the 2 </a:t>
            </a:r>
            <a:r>
              <a:rPr lang="en-US" sz="1400" dirty="0">
                <a:solidFill>
                  <a:srgbClr val="B50130"/>
                </a:solidFill>
              </a:rPr>
              <a:t>Spade-Tip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on terminal 1 and 3 (no polarity).</a:t>
            </a:r>
          </a:p>
        </p:txBody>
      </p:sp>
      <p:pic>
        <p:nvPicPr>
          <p:cNvPr id="8" name="Imagem 7" descr="Uma imagem contendo Forma&#10;&#10;Descrição gerada automaticamente">
            <a:extLst>
              <a:ext uri="{FF2B5EF4-FFF2-40B4-BE49-F238E27FC236}">
                <a16:creationId xmlns:a16="http://schemas.microsoft.com/office/drawing/2014/main" id="{853BBCB8-B49D-98E4-4604-E3AA5F41DDC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 rot="16200000">
            <a:off x="-1311250" y="2373929"/>
            <a:ext cx="4438627" cy="1123993"/>
          </a:xfrm>
          <a:prstGeom prst="rect">
            <a:avLst/>
          </a:prstGeom>
        </p:spPr>
      </p:pic>
      <p:sp>
        <p:nvSpPr>
          <p:cNvPr id="18" name="Triângulo isósceles 9">
            <a:extLst>
              <a:ext uri="{FF2B5EF4-FFF2-40B4-BE49-F238E27FC236}">
                <a16:creationId xmlns:a16="http://schemas.microsoft.com/office/drawing/2014/main" id="{7647CD98-6AEF-5FE6-54FD-63559219DA56}"/>
              </a:ext>
            </a:extLst>
          </p:cNvPr>
          <p:cNvSpPr/>
          <p:nvPr/>
        </p:nvSpPr>
        <p:spPr>
          <a:xfrm flipH="1">
            <a:off x="3286834" y="2527035"/>
            <a:ext cx="3822067" cy="2075808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16922" h="3516801">
                <a:moveTo>
                  <a:pt x="12716922" y="3515955"/>
                </a:moveTo>
                <a:cubicBezTo>
                  <a:pt x="7979613" y="3561219"/>
                  <a:pt x="722872" y="1783947"/>
                  <a:pt x="0" y="0"/>
                </a:cubicBezTo>
                <a:cubicBezTo>
                  <a:pt x="1275859" y="683371"/>
                  <a:pt x="6323647" y="1663958"/>
                  <a:pt x="10907614" y="82674"/>
                </a:cubicBezTo>
                <a:cubicBezTo>
                  <a:pt x="11083218" y="984630"/>
                  <a:pt x="12541318" y="2613999"/>
                  <a:pt x="12716922" y="3515955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9" name="Imagem 8" descr="Diagrama, Esquemático&#10;&#10;Descrição gerada automaticamente">
            <a:extLst>
              <a:ext uri="{FF2B5EF4-FFF2-40B4-BE49-F238E27FC236}">
                <a16:creationId xmlns:a16="http://schemas.microsoft.com/office/drawing/2014/main" id="{B774258B-BBA6-F776-23D1-9F039309A30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r="10539"/>
          <a:stretch/>
        </p:blipFill>
        <p:spPr>
          <a:xfrm>
            <a:off x="1544084" y="2187132"/>
            <a:ext cx="3027916" cy="262593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242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31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305454" y="804862"/>
            <a:ext cx="36630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For the actuator, assembly the two parts of the connector</a:t>
            </a:r>
          </a:p>
        </p:txBody>
      </p:sp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45CF660C-4746-5842-AEE1-96AFF2BA439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75379" y="985954"/>
            <a:ext cx="4497140" cy="3762708"/>
          </a:xfrm>
          <a:prstGeom prst="rect">
            <a:avLst/>
          </a:prstGeom>
        </p:spPr>
      </p:pic>
      <p:sp>
        <p:nvSpPr>
          <p:cNvPr id="12" name="Triângulo isósceles 9">
            <a:extLst>
              <a:ext uri="{FF2B5EF4-FFF2-40B4-BE49-F238E27FC236}">
                <a16:creationId xmlns:a16="http://schemas.microsoft.com/office/drawing/2014/main" id="{5115B248-33C4-A051-0B33-F311EAFC2D38}"/>
              </a:ext>
            </a:extLst>
          </p:cNvPr>
          <p:cNvSpPr/>
          <p:nvPr/>
        </p:nvSpPr>
        <p:spPr>
          <a:xfrm flipH="1">
            <a:off x="467434" y="2468148"/>
            <a:ext cx="6725287" cy="1157350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8778023 w 13194041"/>
              <a:gd name="connsiteY0" fmla="*/ 4028616 h 4084818"/>
              <a:gd name="connsiteX1" fmla="*/ 0 w 13194041"/>
              <a:gd name="connsiteY1" fmla="*/ 351787 h 4084818"/>
              <a:gd name="connsiteX2" fmla="*/ 13189300 w 13194041"/>
              <a:gd name="connsiteY2" fmla="*/ 0 h 4084818"/>
              <a:gd name="connsiteX3" fmla="*/ 8778023 w 13194041"/>
              <a:gd name="connsiteY3" fmla="*/ 4028616 h 4084818"/>
              <a:gd name="connsiteX0" fmla="*/ 8778023 w 12492739"/>
              <a:gd name="connsiteY0" fmla="*/ 3873700 h 3929902"/>
              <a:gd name="connsiteX1" fmla="*/ 0 w 12492739"/>
              <a:gd name="connsiteY1" fmla="*/ 196871 h 3929902"/>
              <a:gd name="connsiteX2" fmla="*/ 12487203 w 12492739"/>
              <a:gd name="connsiteY2" fmla="*/ 0 h 3929902"/>
              <a:gd name="connsiteX3" fmla="*/ 8778023 w 12492739"/>
              <a:gd name="connsiteY3" fmla="*/ 3873700 h 3929902"/>
              <a:gd name="connsiteX0" fmla="*/ 12522544 w 12542338"/>
              <a:gd name="connsiteY0" fmla="*/ 3790284 h 3847797"/>
              <a:gd name="connsiteX1" fmla="*/ 0 w 12542338"/>
              <a:gd name="connsiteY1" fmla="*/ 196871 h 3847797"/>
              <a:gd name="connsiteX2" fmla="*/ 12487203 w 12542338"/>
              <a:gd name="connsiteY2" fmla="*/ 0 h 3847797"/>
              <a:gd name="connsiteX3" fmla="*/ 12522544 w 12542338"/>
              <a:gd name="connsiteY3" fmla="*/ 3790284 h 3847797"/>
              <a:gd name="connsiteX0" fmla="*/ 12522544 w 12542338"/>
              <a:gd name="connsiteY0" fmla="*/ 3790284 h 3864729"/>
              <a:gd name="connsiteX1" fmla="*/ 0 w 12542338"/>
              <a:gd name="connsiteY1" fmla="*/ 196871 h 3864729"/>
              <a:gd name="connsiteX2" fmla="*/ 12487203 w 12542338"/>
              <a:gd name="connsiteY2" fmla="*/ 0 h 3864729"/>
              <a:gd name="connsiteX3" fmla="*/ 12522544 w 12542338"/>
              <a:gd name="connsiteY3" fmla="*/ 3790284 h 3864729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42338"/>
              <a:gd name="connsiteY0" fmla="*/ 3790284 h 3791096"/>
              <a:gd name="connsiteX1" fmla="*/ 0 w 12542338"/>
              <a:gd name="connsiteY1" fmla="*/ 196871 h 3791096"/>
              <a:gd name="connsiteX2" fmla="*/ 12487203 w 12542338"/>
              <a:gd name="connsiteY2" fmla="*/ 0 h 3791096"/>
              <a:gd name="connsiteX3" fmla="*/ 12522544 w 12542338"/>
              <a:gd name="connsiteY3" fmla="*/ 3790284 h 3791096"/>
              <a:gd name="connsiteX0" fmla="*/ 12522544 w 12522544"/>
              <a:gd name="connsiteY0" fmla="*/ 3659200 h 3660012"/>
              <a:gd name="connsiteX1" fmla="*/ 0 w 12522544"/>
              <a:gd name="connsiteY1" fmla="*/ 65787 h 3660012"/>
              <a:gd name="connsiteX2" fmla="*/ 11200024 w 12522544"/>
              <a:gd name="connsiteY2" fmla="*/ 0 h 3660012"/>
              <a:gd name="connsiteX3" fmla="*/ 12522544 w 12522544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59200 h 3660012"/>
              <a:gd name="connsiteX1" fmla="*/ 0 w 12691568"/>
              <a:gd name="connsiteY1" fmla="*/ 65787 h 3660012"/>
              <a:gd name="connsiteX2" fmla="*/ 11369048 w 12691568"/>
              <a:gd name="connsiteY2" fmla="*/ 0 h 3660012"/>
              <a:gd name="connsiteX3" fmla="*/ 12691568 w 12691568"/>
              <a:gd name="connsiteY3" fmla="*/ 3659200 h 3660012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691568 w 12691568"/>
              <a:gd name="connsiteY0" fmla="*/ 3614016 h 3614828"/>
              <a:gd name="connsiteX1" fmla="*/ 0 w 12691568"/>
              <a:gd name="connsiteY1" fmla="*/ 20603 h 3614828"/>
              <a:gd name="connsiteX2" fmla="*/ 11901472 w 12691568"/>
              <a:gd name="connsiteY2" fmla="*/ 0 h 3614828"/>
              <a:gd name="connsiteX3" fmla="*/ 12691568 w 12691568"/>
              <a:gd name="connsiteY3" fmla="*/ 3614016 h 3614828"/>
              <a:gd name="connsiteX0" fmla="*/ 12716922 w 12716922"/>
              <a:gd name="connsiteY0" fmla="*/ 3536558 h 3537404"/>
              <a:gd name="connsiteX1" fmla="*/ 0 w 12716922"/>
              <a:gd name="connsiteY1" fmla="*/ 20603 h 3537404"/>
              <a:gd name="connsiteX2" fmla="*/ 11901472 w 12716922"/>
              <a:gd name="connsiteY2" fmla="*/ 0 h 3537404"/>
              <a:gd name="connsiteX3" fmla="*/ 12716922 w 12716922"/>
              <a:gd name="connsiteY3" fmla="*/ 3536558 h 3537404"/>
              <a:gd name="connsiteX0" fmla="*/ 12716922 w 12716922"/>
              <a:gd name="connsiteY0" fmla="*/ 3515955 h 3516801"/>
              <a:gd name="connsiteX1" fmla="*/ 0 w 12716922"/>
              <a:gd name="connsiteY1" fmla="*/ 0 h 3516801"/>
              <a:gd name="connsiteX2" fmla="*/ 10907614 w 12716922"/>
              <a:gd name="connsiteY2" fmla="*/ 82674 h 3516801"/>
              <a:gd name="connsiteX3" fmla="*/ 12716922 w 12716922"/>
              <a:gd name="connsiteY3" fmla="*/ 3515955 h 3516801"/>
              <a:gd name="connsiteX0" fmla="*/ 12716922 w 12716922"/>
              <a:gd name="connsiteY0" fmla="*/ 3691474 h 3692320"/>
              <a:gd name="connsiteX1" fmla="*/ 0 w 12716922"/>
              <a:gd name="connsiteY1" fmla="*/ 175519 h 3692320"/>
              <a:gd name="connsiteX2" fmla="*/ 11389331 w 12716922"/>
              <a:gd name="connsiteY2" fmla="*/ 0 h 3692320"/>
              <a:gd name="connsiteX3" fmla="*/ 12716922 w 12716922"/>
              <a:gd name="connsiteY3" fmla="*/ 3691474 h 3692320"/>
              <a:gd name="connsiteX0" fmla="*/ 22427330 w 22427330"/>
              <a:gd name="connsiteY0" fmla="*/ 269534 h 1145949"/>
              <a:gd name="connsiteX1" fmla="*/ 0 w 22427330"/>
              <a:gd name="connsiteY1" fmla="*/ 368290 h 1145949"/>
              <a:gd name="connsiteX2" fmla="*/ 11389331 w 22427330"/>
              <a:gd name="connsiteY2" fmla="*/ 192771 h 1145949"/>
              <a:gd name="connsiteX3" fmla="*/ 22427330 w 22427330"/>
              <a:gd name="connsiteY3" fmla="*/ 269534 h 1145949"/>
              <a:gd name="connsiteX0" fmla="*/ 22427330 w 22427330"/>
              <a:gd name="connsiteY0" fmla="*/ 269534 h 2122819"/>
              <a:gd name="connsiteX1" fmla="*/ 0 w 22427330"/>
              <a:gd name="connsiteY1" fmla="*/ 368290 h 2122819"/>
              <a:gd name="connsiteX2" fmla="*/ 11389331 w 22427330"/>
              <a:gd name="connsiteY2" fmla="*/ 192771 h 2122819"/>
              <a:gd name="connsiteX3" fmla="*/ 22427330 w 22427330"/>
              <a:gd name="connsiteY3" fmla="*/ 269534 h 2122819"/>
              <a:gd name="connsiteX0" fmla="*/ 22427330 w 22427330"/>
              <a:gd name="connsiteY0" fmla="*/ 76763 h 1930048"/>
              <a:gd name="connsiteX1" fmla="*/ 0 w 22427330"/>
              <a:gd name="connsiteY1" fmla="*/ 175519 h 1930048"/>
              <a:gd name="connsiteX2" fmla="*/ 11389331 w 22427330"/>
              <a:gd name="connsiteY2" fmla="*/ 0 h 1930048"/>
              <a:gd name="connsiteX3" fmla="*/ 22427330 w 22427330"/>
              <a:gd name="connsiteY3" fmla="*/ 76763 h 1930048"/>
              <a:gd name="connsiteX0" fmla="*/ 22427330 w 22427330"/>
              <a:gd name="connsiteY0" fmla="*/ 76763 h 1930048"/>
              <a:gd name="connsiteX1" fmla="*/ 0 w 22427330"/>
              <a:gd name="connsiteY1" fmla="*/ 175519 h 1930048"/>
              <a:gd name="connsiteX2" fmla="*/ 11389331 w 22427330"/>
              <a:gd name="connsiteY2" fmla="*/ 0 h 1930048"/>
              <a:gd name="connsiteX3" fmla="*/ 22427330 w 22427330"/>
              <a:gd name="connsiteY3" fmla="*/ 76763 h 1930048"/>
              <a:gd name="connsiteX0" fmla="*/ 22427330 w 22427330"/>
              <a:gd name="connsiteY0" fmla="*/ 76763 h 1900095"/>
              <a:gd name="connsiteX1" fmla="*/ 0 w 22427330"/>
              <a:gd name="connsiteY1" fmla="*/ 175519 h 1900095"/>
              <a:gd name="connsiteX2" fmla="*/ 11389331 w 22427330"/>
              <a:gd name="connsiteY2" fmla="*/ 0 h 1900095"/>
              <a:gd name="connsiteX3" fmla="*/ 22427330 w 22427330"/>
              <a:gd name="connsiteY3" fmla="*/ 76763 h 1900095"/>
              <a:gd name="connsiteX0" fmla="*/ 22376623 w 22376623"/>
              <a:gd name="connsiteY0" fmla="*/ 76763 h 1960764"/>
              <a:gd name="connsiteX1" fmla="*/ 0 w 22376623"/>
              <a:gd name="connsiteY1" fmla="*/ 317526 h 1960764"/>
              <a:gd name="connsiteX2" fmla="*/ 11338624 w 22376623"/>
              <a:gd name="connsiteY2" fmla="*/ 0 h 1960764"/>
              <a:gd name="connsiteX3" fmla="*/ 22376623 w 22376623"/>
              <a:gd name="connsiteY3" fmla="*/ 76763 h 1960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76623" h="1960764">
                <a:moveTo>
                  <a:pt x="22376623" y="76763"/>
                </a:moveTo>
                <a:cubicBezTo>
                  <a:pt x="19084465" y="3052524"/>
                  <a:pt x="1686307" y="2011105"/>
                  <a:pt x="0" y="317526"/>
                </a:cubicBezTo>
                <a:cubicBezTo>
                  <a:pt x="1275859" y="1000897"/>
                  <a:pt x="6754657" y="1581284"/>
                  <a:pt x="11338624" y="0"/>
                </a:cubicBezTo>
                <a:lnTo>
                  <a:pt x="22376623" y="76763"/>
                </a:ln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1E37E816-CA95-86A4-1AA2-383AA10423B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5" t="1534" r="930" b="2916"/>
          <a:stretch/>
        </p:blipFill>
        <p:spPr>
          <a:xfrm>
            <a:off x="332740" y="1762640"/>
            <a:ext cx="3688560" cy="809109"/>
          </a:xfrm>
          <a:prstGeom prst="rect">
            <a:avLst/>
          </a:prstGeom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3597339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HEAT RECOVERY MODUL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32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B460F6B-C0C1-7527-9283-49822CE56E0F}"/>
              </a:ext>
            </a:extLst>
          </p:cNvPr>
          <p:cNvSpPr txBox="1"/>
          <p:nvPr/>
        </p:nvSpPr>
        <p:spPr>
          <a:xfrm>
            <a:off x="3632539" y="940357"/>
            <a:ext cx="24682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Reassemble both </a:t>
            </a:r>
            <a:r>
              <a:rPr lang="en-US" sz="1400" dirty="0">
                <a:solidFill>
                  <a:srgbClr val="B50130"/>
                </a:solidFill>
              </a:rPr>
              <a:t>Side Door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of the heat recovery module.</a:t>
            </a:r>
          </a:p>
        </p:txBody>
      </p:sp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9EC2483E-3DB9-ED8F-5F52-B09EF88EB61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l="11704" r="6179"/>
          <a:stretch/>
        </p:blipFill>
        <p:spPr>
          <a:xfrm>
            <a:off x="5093470" y="1513643"/>
            <a:ext cx="4050529" cy="3195934"/>
          </a:xfrm>
          <a:prstGeom prst="rect">
            <a:avLst/>
          </a:prstGeom>
        </p:spPr>
      </p:pic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B05B4910-17A4-1502-5A51-CF0F8CA2ABA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628" y="1515015"/>
            <a:ext cx="4592206" cy="3167750"/>
          </a:xfrm>
          <a:prstGeom prst="rect">
            <a:avLst/>
          </a:prstGeom>
        </p:spPr>
      </p:pic>
      <p:sp>
        <p:nvSpPr>
          <p:cNvPr id="11" name="Seta: para a Direita 10">
            <a:extLst>
              <a:ext uri="{FF2B5EF4-FFF2-40B4-BE49-F238E27FC236}">
                <a16:creationId xmlns:a16="http://schemas.microsoft.com/office/drawing/2014/main" id="{6DFCDE4D-B60F-2CCD-1B5C-962E11DD279B}"/>
              </a:ext>
            </a:extLst>
          </p:cNvPr>
          <p:cNvSpPr/>
          <p:nvPr/>
        </p:nvSpPr>
        <p:spPr>
          <a:xfrm>
            <a:off x="4723136" y="2925359"/>
            <a:ext cx="287033" cy="657703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2903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en-US" sz="3200" spc="300"/>
              <a:t>THANK YOU!</a:t>
            </a:r>
            <a:br>
              <a:rPr lang="en-US" sz="3200" spc="300"/>
            </a:br>
            <a:endParaRPr lang="en-US" sz="4000" spc="300"/>
          </a:p>
        </p:txBody>
      </p:sp>
    </p:spTree>
    <p:extLst>
      <p:ext uri="{BB962C8B-B14F-4D97-AF65-F5344CB8AC3E}">
        <p14:creationId xmlns:p14="http://schemas.microsoft.com/office/powerpoint/2010/main" val="389102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4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13" name="Imagem 12" descr="Diagrama, Desenho técnico&#10;&#10;Descrição gerada automaticamente">
            <a:extLst>
              <a:ext uri="{FF2B5EF4-FFF2-40B4-BE49-F238E27FC236}">
                <a16:creationId xmlns:a16="http://schemas.microsoft.com/office/drawing/2014/main" id="{0B0E4DA5-E616-6549-5ED9-48887430850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23778" y="66023"/>
            <a:ext cx="3226332" cy="2938264"/>
          </a:xfrm>
          <a:prstGeom prst="rect">
            <a:avLst/>
          </a:prstGeom>
        </p:spPr>
      </p:pic>
      <p:pic>
        <p:nvPicPr>
          <p:cNvPr id="15" name="Imagem 14" descr="Uma imagem contendo lego, brinquedo, computador, mesa&#10;&#10;Descrição gerada automaticamente">
            <a:extLst>
              <a:ext uri="{FF2B5EF4-FFF2-40B4-BE49-F238E27FC236}">
                <a16:creationId xmlns:a16="http://schemas.microsoft.com/office/drawing/2014/main" id="{1087C8FA-6141-C43B-C44D-7A4047A2AFC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9167" y="3078056"/>
            <a:ext cx="2774536" cy="1542858"/>
          </a:xfrm>
          <a:prstGeom prst="rect">
            <a:avLst/>
          </a:prstGeom>
          <a:ln w="9525">
            <a:solidFill>
              <a:srgbClr val="B50130"/>
            </a:solidFill>
          </a:ln>
        </p:spPr>
      </p:pic>
      <p:pic>
        <p:nvPicPr>
          <p:cNvPr id="17" name="Imagem 16" descr="Diagrama&#10;&#10;Descrição gerada automaticamente">
            <a:extLst>
              <a:ext uri="{FF2B5EF4-FFF2-40B4-BE49-F238E27FC236}">
                <a16:creationId xmlns:a16="http://schemas.microsoft.com/office/drawing/2014/main" id="{6FB66F7A-D4D5-BD22-C41E-8261E6E162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2871" y="3077633"/>
            <a:ext cx="2826397" cy="1543705"/>
          </a:xfrm>
          <a:prstGeom prst="rect">
            <a:avLst/>
          </a:prstGeom>
          <a:ln w="9525">
            <a:solidFill>
              <a:srgbClr val="B50130"/>
            </a:solidFill>
          </a:ln>
        </p:spPr>
      </p:pic>
      <p:pic>
        <p:nvPicPr>
          <p:cNvPr id="19" name="Imagem 18" descr="Interface gráfica do usuário&#10;&#10;Descrição gerada automaticamente">
            <a:extLst>
              <a:ext uri="{FF2B5EF4-FFF2-40B4-BE49-F238E27FC236}">
                <a16:creationId xmlns:a16="http://schemas.microsoft.com/office/drawing/2014/main" id="{0B78D1A2-FA23-42BC-66E3-F58201AEA8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38435" y="3078056"/>
            <a:ext cx="2826397" cy="1542858"/>
          </a:xfrm>
          <a:prstGeom prst="rect">
            <a:avLst/>
          </a:prstGeom>
          <a:ln w="9525">
            <a:solidFill>
              <a:srgbClr val="B5013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02E5270D-6A19-EED2-C1E9-E5F905D271A2}"/>
              </a:ext>
            </a:extLst>
          </p:cNvPr>
          <p:cNvSpPr txBox="1"/>
          <p:nvPr/>
        </p:nvSpPr>
        <p:spPr>
          <a:xfrm>
            <a:off x="1835898" y="1551820"/>
            <a:ext cx="20878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1</a:t>
            </a:r>
            <a:r>
              <a:rPr lang="en-US" sz="1400" baseline="30000" dirty="0">
                <a:solidFill>
                  <a:srgbClr val="B50130"/>
                </a:solidFill>
              </a:rPr>
              <a:t>st</a:t>
            </a:r>
            <a:r>
              <a:rPr lang="en-US" sz="1400" dirty="0">
                <a:solidFill>
                  <a:srgbClr val="B50130"/>
                </a:solidFill>
              </a:rPr>
              <a:t> Bracket: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4 screws (6x16mm)</a:t>
            </a:r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A3BFFE51-17EF-58E6-9048-32E2C8ECECCF}"/>
              </a:ext>
            </a:extLst>
          </p:cNvPr>
          <p:cNvSpPr/>
          <p:nvPr/>
        </p:nvSpPr>
        <p:spPr>
          <a:xfrm>
            <a:off x="2989287" y="3685135"/>
            <a:ext cx="108000" cy="3287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a Direita 22">
            <a:extLst>
              <a:ext uri="{FF2B5EF4-FFF2-40B4-BE49-F238E27FC236}">
                <a16:creationId xmlns:a16="http://schemas.microsoft.com/office/drawing/2014/main" id="{DDA59803-C230-F155-E0FC-E8617232E364}"/>
              </a:ext>
            </a:extLst>
          </p:cNvPr>
          <p:cNvSpPr/>
          <p:nvPr/>
        </p:nvSpPr>
        <p:spPr>
          <a:xfrm>
            <a:off x="5994852" y="3685135"/>
            <a:ext cx="108000" cy="3287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769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6E8ECFCA-C61D-AB72-1B41-0862AA7D6B9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28616" y="3074729"/>
            <a:ext cx="2836217" cy="1481156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9" name="Imagem 8" descr="Diagrama&#10;&#10;Descrição gerada automaticamente">
            <a:extLst>
              <a:ext uri="{FF2B5EF4-FFF2-40B4-BE49-F238E27FC236}">
                <a16:creationId xmlns:a16="http://schemas.microsoft.com/office/drawing/2014/main" id="{09B80811-481A-5B73-BD4E-63BE70BFC79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l="204" t="3203" b="4905"/>
          <a:stretch/>
        </p:blipFill>
        <p:spPr>
          <a:xfrm>
            <a:off x="89822" y="3300014"/>
            <a:ext cx="2789116" cy="111772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5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AC338E2D-45BB-CAE7-98BC-8B148FD10E4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t="3220" r="754" b="3958"/>
          <a:stretch/>
        </p:blipFill>
        <p:spPr>
          <a:xfrm>
            <a:off x="89822" y="1428396"/>
            <a:ext cx="2789116" cy="1117721"/>
          </a:xfrm>
          <a:prstGeom prst="rect">
            <a:avLst/>
          </a:prstGeom>
        </p:spPr>
      </p:pic>
      <p:pic>
        <p:nvPicPr>
          <p:cNvPr id="17" name="Imagem 16" descr="Interface gráfica do usuário&#10;&#10;Descrição gerada automaticamente com confiança média">
            <a:extLst>
              <a:ext uri="{FF2B5EF4-FFF2-40B4-BE49-F238E27FC236}">
                <a16:creationId xmlns:a16="http://schemas.microsoft.com/office/drawing/2014/main" id="{99F9BC35-87A7-F06A-A59C-6638987E888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28615" y="1029927"/>
            <a:ext cx="2836218" cy="1539234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C18C65AA-3606-2A3B-7EAF-84EAB5D12979}"/>
              </a:ext>
            </a:extLst>
          </p:cNvPr>
          <p:cNvSpPr txBox="1"/>
          <p:nvPr/>
        </p:nvSpPr>
        <p:spPr>
          <a:xfrm>
            <a:off x="529785" y="882377"/>
            <a:ext cx="20878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2</a:t>
            </a:r>
            <a:r>
              <a:rPr lang="en-US" sz="1400" baseline="30000" dirty="0">
                <a:solidFill>
                  <a:srgbClr val="B50130"/>
                </a:solidFill>
              </a:rPr>
              <a:t>nd</a:t>
            </a:r>
            <a:r>
              <a:rPr lang="en-US" sz="1400" dirty="0">
                <a:solidFill>
                  <a:srgbClr val="B50130"/>
                </a:solidFill>
              </a:rPr>
              <a:t> Bracket: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4 screws (6x16mm)</a:t>
            </a:r>
          </a:p>
        </p:txBody>
      </p:sp>
      <p:sp>
        <p:nvSpPr>
          <p:cNvPr id="19" name="Triângulo isósceles 9">
            <a:extLst>
              <a:ext uri="{FF2B5EF4-FFF2-40B4-BE49-F238E27FC236}">
                <a16:creationId xmlns:a16="http://schemas.microsoft.com/office/drawing/2014/main" id="{C82E3666-F0A8-466A-11D7-AC71086F40A0}"/>
              </a:ext>
            </a:extLst>
          </p:cNvPr>
          <p:cNvSpPr/>
          <p:nvPr/>
        </p:nvSpPr>
        <p:spPr>
          <a:xfrm rot="10800000" flipH="1">
            <a:off x="1885639" y="1428396"/>
            <a:ext cx="2686361" cy="2080845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048166" h="2476513">
                <a:moveTo>
                  <a:pt x="16843831" y="2476513"/>
                </a:moveTo>
                <a:cubicBezTo>
                  <a:pt x="11424769" y="2318273"/>
                  <a:pt x="2030824" y="801833"/>
                  <a:pt x="0" y="0"/>
                </a:cubicBezTo>
                <a:cubicBezTo>
                  <a:pt x="3087809" y="406346"/>
                  <a:pt x="10300761" y="1152200"/>
                  <a:pt x="20041853" y="1285155"/>
                </a:cubicBezTo>
                <a:cubicBezTo>
                  <a:pt x="20217457" y="2187111"/>
                  <a:pt x="16668227" y="1574557"/>
                  <a:pt x="16843831" y="2476513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F5DD8461-816C-B574-762A-6589C398580D}"/>
              </a:ext>
            </a:extLst>
          </p:cNvPr>
          <p:cNvSpPr/>
          <p:nvPr/>
        </p:nvSpPr>
        <p:spPr>
          <a:xfrm>
            <a:off x="5908040" y="1532521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a Direita 22">
            <a:extLst>
              <a:ext uri="{FF2B5EF4-FFF2-40B4-BE49-F238E27FC236}">
                <a16:creationId xmlns:a16="http://schemas.microsoft.com/office/drawing/2014/main" id="{BD4F933F-2E74-967C-F99C-25D5795D04D2}"/>
              </a:ext>
            </a:extLst>
          </p:cNvPr>
          <p:cNvSpPr/>
          <p:nvPr/>
        </p:nvSpPr>
        <p:spPr>
          <a:xfrm>
            <a:off x="5908040" y="3548284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Triângulo isósceles 9">
            <a:extLst>
              <a:ext uri="{FF2B5EF4-FFF2-40B4-BE49-F238E27FC236}">
                <a16:creationId xmlns:a16="http://schemas.microsoft.com/office/drawing/2014/main" id="{3BF84282-F474-2DD6-8AC0-FB3D5F09C3C1}"/>
              </a:ext>
            </a:extLst>
          </p:cNvPr>
          <p:cNvSpPr/>
          <p:nvPr/>
        </p:nvSpPr>
        <p:spPr>
          <a:xfrm rot="10800000" flipH="1" flipV="1">
            <a:off x="1495117" y="3669002"/>
            <a:ext cx="3036189" cy="858414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58913" h="1510131">
                <a:moveTo>
                  <a:pt x="22658913" y="1468056"/>
                </a:moveTo>
                <a:cubicBezTo>
                  <a:pt x="14491249" y="1618136"/>
                  <a:pt x="2030824" y="1377250"/>
                  <a:pt x="0" y="575417"/>
                </a:cubicBezTo>
                <a:cubicBezTo>
                  <a:pt x="3087809" y="981763"/>
                  <a:pt x="14892457" y="756256"/>
                  <a:pt x="17733608" y="0"/>
                </a:cubicBezTo>
                <a:cubicBezTo>
                  <a:pt x="17909212" y="901956"/>
                  <a:pt x="22483309" y="566100"/>
                  <a:pt x="22658913" y="1468056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16" name="Imagem 15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A5654BD9-0C91-758D-99AA-4D1D32BC240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7444" y="1029927"/>
            <a:ext cx="2836218" cy="1539234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11" name="Imagem 10" descr="Uma imagem contendo Gráfico&#10;&#10;Descrição gerada automaticamente">
            <a:extLst>
              <a:ext uri="{FF2B5EF4-FFF2-40B4-BE49-F238E27FC236}">
                <a16:creationId xmlns:a16="http://schemas.microsoft.com/office/drawing/2014/main" id="{BB34E06B-E3A5-2B24-A488-5E809F173651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7444" y="3076580"/>
            <a:ext cx="2836218" cy="1477455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sp>
        <p:nvSpPr>
          <p:cNvPr id="25" name="Seta: para a Direita 24">
            <a:extLst>
              <a:ext uri="{FF2B5EF4-FFF2-40B4-BE49-F238E27FC236}">
                <a16:creationId xmlns:a16="http://schemas.microsoft.com/office/drawing/2014/main" id="{AF8CD350-C24C-421E-EA44-64809C70B5BD}"/>
              </a:ext>
            </a:extLst>
          </p:cNvPr>
          <p:cNvSpPr/>
          <p:nvPr/>
        </p:nvSpPr>
        <p:spPr>
          <a:xfrm rot="5400000">
            <a:off x="1401281" y="2684416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8253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6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8" name="Imagem 7" descr="Interface gráfica do usuário&#10;&#10;Descrição gerada automaticamente">
            <a:extLst>
              <a:ext uri="{FF2B5EF4-FFF2-40B4-BE49-F238E27FC236}">
                <a16:creationId xmlns:a16="http://schemas.microsoft.com/office/drawing/2014/main" id="{AC69A985-78BE-4B5E-40AA-1D8BF76D3A8C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16382" y="3195057"/>
            <a:ext cx="2591390" cy="1382298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BF3C0C81-2E7D-61EA-3B53-067DEE0E6EB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59728" y="524847"/>
            <a:ext cx="5235149" cy="2608970"/>
          </a:xfrm>
          <a:prstGeom prst="rect">
            <a:avLst/>
          </a:prstGeom>
        </p:spPr>
      </p:pic>
      <p:pic>
        <p:nvPicPr>
          <p:cNvPr id="12" name="Imagem 11" descr="Tela de jogo de vídeo game&#10;&#10;Descrição gerada automaticamente com confiança baixa">
            <a:extLst>
              <a:ext uri="{FF2B5EF4-FFF2-40B4-BE49-F238E27FC236}">
                <a16:creationId xmlns:a16="http://schemas.microsoft.com/office/drawing/2014/main" id="{2B3A96F9-3FD3-B627-DA1B-CA38C1A1F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945" y="3194655"/>
            <a:ext cx="2664306" cy="1383102"/>
          </a:xfrm>
          <a:prstGeom prst="rect">
            <a:avLst/>
          </a:prstGeom>
          <a:ln>
            <a:solidFill>
              <a:srgbClr val="B50130"/>
            </a:solidFill>
          </a:ln>
        </p:spPr>
      </p:pic>
      <p:pic>
        <p:nvPicPr>
          <p:cNvPr id="14" name="Imagem 13" descr="Tela de computador com fundo azul&#10;&#10;Descrição gerada automaticamente com confiança baixa">
            <a:extLst>
              <a:ext uri="{FF2B5EF4-FFF2-40B4-BE49-F238E27FC236}">
                <a16:creationId xmlns:a16="http://schemas.microsoft.com/office/drawing/2014/main" id="{E0B56125-E79D-FD19-911B-7950EFAAC2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8163" y="3195057"/>
            <a:ext cx="2664306" cy="1382298"/>
          </a:xfrm>
          <a:prstGeom prst="rect">
            <a:avLst/>
          </a:prstGeom>
          <a:ln>
            <a:solidFill>
              <a:srgbClr val="B50130"/>
            </a:solidFill>
          </a:ln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AB0C7C01-F3C6-050E-4346-3B723782FE80}"/>
              </a:ext>
            </a:extLst>
          </p:cNvPr>
          <p:cNvSpPr txBox="1"/>
          <p:nvPr/>
        </p:nvSpPr>
        <p:spPr>
          <a:xfrm>
            <a:off x="1304995" y="1551820"/>
            <a:ext cx="20878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3</a:t>
            </a:r>
            <a:r>
              <a:rPr lang="en-US" sz="1400" baseline="30000" dirty="0">
                <a:solidFill>
                  <a:srgbClr val="B50130"/>
                </a:solidFill>
              </a:rPr>
              <a:t>rd</a:t>
            </a:r>
            <a:r>
              <a:rPr lang="en-US" sz="1400" dirty="0">
                <a:solidFill>
                  <a:srgbClr val="B50130"/>
                </a:solidFill>
              </a:rPr>
              <a:t> Bracket: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4 screws (6x16mm)</a:t>
            </a:r>
          </a:p>
        </p:txBody>
      </p:sp>
      <p:sp>
        <p:nvSpPr>
          <p:cNvPr id="21" name="Seta: para a Direita 20">
            <a:extLst>
              <a:ext uri="{FF2B5EF4-FFF2-40B4-BE49-F238E27FC236}">
                <a16:creationId xmlns:a16="http://schemas.microsoft.com/office/drawing/2014/main" id="{99CB86AF-34EC-EE33-4A8E-D4929FE17F19}"/>
              </a:ext>
            </a:extLst>
          </p:cNvPr>
          <p:cNvSpPr/>
          <p:nvPr/>
        </p:nvSpPr>
        <p:spPr>
          <a:xfrm>
            <a:off x="3006084" y="3627132"/>
            <a:ext cx="170246" cy="51814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Seta: para a Direita 21">
            <a:extLst>
              <a:ext uri="{FF2B5EF4-FFF2-40B4-BE49-F238E27FC236}">
                <a16:creationId xmlns:a16="http://schemas.microsoft.com/office/drawing/2014/main" id="{EEA8C20C-FDDC-3C2B-2F81-851AB9B81C3A}"/>
              </a:ext>
            </a:extLst>
          </p:cNvPr>
          <p:cNvSpPr/>
          <p:nvPr/>
        </p:nvSpPr>
        <p:spPr>
          <a:xfrm>
            <a:off x="6044302" y="3627132"/>
            <a:ext cx="170246" cy="518148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0267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EFF0000F-D982-930E-C29A-C996080622AE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87742" y="3066264"/>
            <a:ext cx="2527666" cy="14980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7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C18C65AA-3606-2A3B-7EAF-84EAB5D12979}"/>
              </a:ext>
            </a:extLst>
          </p:cNvPr>
          <p:cNvSpPr txBox="1"/>
          <p:nvPr/>
        </p:nvSpPr>
        <p:spPr>
          <a:xfrm>
            <a:off x="407635" y="882377"/>
            <a:ext cx="20878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4</a:t>
            </a:r>
            <a:r>
              <a:rPr lang="en-US" sz="1400" baseline="30000" dirty="0">
                <a:solidFill>
                  <a:srgbClr val="B50130"/>
                </a:solidFill>
              </a:rPr>
              <a:t>th</a:t>
            </a:r>
            <a:r>
              <a:rPr lang="en-US" sz="1400" dirty="0">
                <a:solidFill>
                  <a:srgbClr val="B50130"/>
                </a:solidFill>
              </a:rPr>
              <a:t> Bracket: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4 screws (6x16mm)</a:t>
            </a:r>
          </a:p>
        </p:txBody>
      </p:sp>
      <p:sp>
        <p:nvSpPr>
          <p:cNvPr id="19" name="Triângulo isósceles 9">
            <a:extLst>
              <a:ext uri="{FF2B5EF4-FFF2-40B4-BE49-F238E27FC236}">
                <a16:creationId xmlns:a16="http://schemas.microsoft.com/office/drawing/2014/main" id="{C82E3666-F0A8-466A-11D7-AC71086F40A0}"/>
              </a:ext>
            </a:extLst>
          </p:cNvPr>
          <p:cNvSpPr/>
          <p:nvPr/>
        </p:nvSpPr>
        <p:spPr>
          <a:xfrm rot="10800000" flipH="1">
            <a:off x="2447586" y="1361177"/>
            <a:ext cx="1562391" cy="2345011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2644372 w 15848707"/>
              <a:gd name="connsiteY0" fmla="*/ 2710910 h 2710910"/>
              <a:gd name="connsiteX1" fmla="*/ 0 w 15848707"/>
              <a:gd name="connsiteY1" fmla="*/ 0 h 2710910"/>
              <a:gd name="connsiteX2" fmla="*/ 15842394 w 15848707"/>
              <a:gd name="connsiteY2" fmla="*/ 1519552 h 2710910"/>
              <a:gd name="connsiteX3" fmla="*/ 12644372 w 15848707"/>
              <a:gd name="connsiteY3" fmla="*/ 2710910 h 2710910"/>
              <a:gd name="connsiteX0" fmla="*/ 12647380 w 15851715"/>
              <a:gd name="connsiteY0" fmla="*/ 2710910 h 2710910"/>
              <a:gd name="connsiteX1" fmla="*/ 3008 w 15851715"/>
              <a:gd name="connsiteY1" fmla="*/ 0 h 2710910"/>
              <a:gd name="connsiteX2" fmla="*/ 15845402 w 15851715"/>
              <a:gd name="connsiteY2" fmla="*/ 1519552 h 2710910"/>
              <a:gd name="connsiteX3" fmla="*/ 12647380 w 15851715"/>
              <a:gd name="connsiteY3" fmla="*/ 2710910 h 2710910"/>
              <a:gd name="connsiteX0" fmla="*/ 12647380 w 15851715"/>
              <a:gd name="connsiteY0" fmla="*/ 2710910 h 2710910"/>
              <a:gd name="connsiteX1" fmla="*/ 3008 w 15851715"/>
              <a:gd name="connsiteY1" fmla="*/ 0 h 2710910"/>
              <a:gd name="connsiteX2" fmla="*/ 15845402 w 15851715"/>
              <a:gd name="connsiteY2" fmla="*/ 1519552 h 2710910"/>
              <a:gd name="connsiteX3" fmla="*/ 12647380 w 15851715"/>
              <a:gd name="connsiteY3" fmla="*/ 2710910 h 2710910"/>
              <a:gd name="connsiteX0" fmla="*/ 12647380 w 12647380"/>
              <a:gd name="connsiteY0" fmla="*/ 2710910 h 2710910"/>
              <a:gd name="connsiteX1" fmla="*/ 3008 w 12647380"/>
              <a:gd name="connsiteY1" fmla="*/ 0 h 2710910"/>
              <a:gd name="connsiteX2" fmla="*/ 11645942 w 12647380"/>
              <a:gd name="connsiteY2" fmla="*/ 1544665 h 2710910"/>
              <a:gd name="connsiteX3" fmla="*/ 12647380 w 12647380"/>
              <a:gd name="connsiteY3" fmla="*/ 2710910 h 2710910"/>
              <a:gd name="connsiteX0" fmla="*/ 12647380 w 12647380"/>
              <a:gd name="connsiteY0" fmla="*/ 2710910 h 2710910"/>
              <a:gd name="connsiteX1" fmla="*/ 3008 w 12647380"/>
              <a:gd name="connsiteY1" fmla="*/ 0 h 2710910"/>
              <a:gd name="connsiteX2" fmla="*/ 11645942 w 12647380"/>
              <a:gd name="connsiteY2" fmla="*/ 1544665 h 2710910"/>
              <a:gd name="connsiteX3" fmla="*/ 12647380 w 12647380"/>
              <a:gd name="connsiteY3" fmla="*/ 2710910 h 2710910"/>
              <a:gd name="connsiteX0" fmla="*/ 7509343 w 11657256"/>
              <a:gd name="connsiteY0" fmla="*/ 2593711 h 2593711"/>
              <a:gd name="connsiteX1" fmla="*/ 9307 w 11657256"/>
              <a:gd name="connsiteY1" fmla="*/ 0 h 2593711"/>
              <a:gd name="connsiteX2" fmla="*/ 11652241 w 11657256"/>
              <a:gd name="connsiteY2" fmla="*/ 1544665 h 2593711"/>
              <a:gd name="connsiteX3" fmla="*/ 7509343 w 11657256"/>
              <a:gd name="connsiteY3" fmla="*/ 2593711 h 2593711"/>
              <a:gd name="connsiteX0" fmla="*/ 7509343 w 11660084"/>
              <a:gd name="connsiteY0" fmla="*/ 2593711 h 2593711"/>
              <a:gd name="connsiteX1" fmla="*/ 9307 w 11660084"/>
              <a:gd name="connsiteY1" fmla="*/ 0 h 2593711"/>
              <a:gd name="connsiteX2" fmla="*/ 11652241 w 11660084"/>
              <a:gd name="connsiteY2" fmla="*/ 1544665 h 2593711"/>
              <a:gd name="connsiteX3" fmla="*/ 7509343 w 11660084"/>
              <a:gd name="connsiteY3" fmla="*/ 2593711 h 2593711"/>
              <a:gd name="connsiteX0" fmla="*/ 7509343 w 11663666"/>
              <a:gd name="connsiteY0" fmla="*/ 2593711 h 2593711"/>
              <a:gd name="connsiteX1" fmla="*/ 9307 w 11663666"/>
              <a:gd name="connsiteY1" fmla="*/ 0 h 2593711"/>
              <a:gd name="connsiteX2" fmla="*/ 11652241 w 11663666"/>
              <a:gd name="connsiteY2" fmla="*/ 1544665 h 2593711"/>
              <a:gd name="connsiteX3" fmla="*/ 7509343 w 11663666"/>
              <a:gd name="connsiteY3" fmla="*/ 2593711 h 2593711"/>
              <a:gd name="connsiteX0" fmla="*/ 7505716 w 11660039"/>
              <a:gd name="connsiteY0" fmla="*/ 2593711 h 2593711"/>
              <a:gd name="connsiteX1" fmla="*/ 5680 w 11660039"/>
              <a:gd name="connsiteY1" fmla="*/ 0 h 2593711"/>
              <a:gd name="connsiteX2" fmla="*/ 11648614 w 11660039"/>
              <a:gd name="connsiteY2" fmla="*/ 1544665 h 2593711"/>
              <a:gd name="connsiteX3" fmla="*/ 7505716 w 11660039"/>
              <a:gd name="connsiteY3" fmla="*/ 2593711 h 2593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660039" h="2593711">
                <a:moveTo>
                  <a:pt x="7505716" y="2593711"/>
                </a:moveTo>
                <a:cubicBezTo>
                  <a:pt x="3678949" y="2024178"/>
                  <a:pt x="-168214" y="1052972"/>
                  <a:pt x="5680" y="0"/>
                </a:cubicBezTo>
                <a:cubicBezTo>
                  <a:pt x="1571182" y="523544"/>
                  <a:pt x="5739528" y="1461938"/>
                  <a:pt x="11648614" y="1544665"/>
                </a:cubicBezTo>
                <a:cubicBezTo>
                  <a:pt x="11824218" y="2446621"/>
                  <a:pt x="9954779" y="2311232"/>
                  <a:pt x="7505716" y="2593711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420000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F5DD8461-816C-B574-762A-6589C398580D}"/>
              </a:ext>
            </a:extLst>
          </p:cNvPr>
          <p:cNvSpPr/>
          <p:nvPr/>
        </p:nvSpPr>
        <p:spPr>
          <a:xfrm>
            <a:off x="5908040" y="1532521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a Direita 22">
            <a:extLst>
              <a:ext uri="{FF2B5EF4-FFF2-40B4-BE49-F238E27FC236}">
                <a16:creationId xmlns:a16="http://schemas.microsoft.com/office/drawing/2014/main" id="{BD4F933F-2E74-967C-F99C-25D5795D04D2}"/>
              </a:ext>
            </a:extLst>
          </p:cNvPr>
          <p:cNvSpPr/>
          <p:nvPr/>
        </p:nvSpPr>
        <p:spPr>
          <a:xfrm>
            <a:off x="5908040" y="3548284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4" name="Triângulo isósceles 9">
            <a:extLst>
              <a:ext uri="{FF2B5EF4-FFF2-40B4-BE49-F238E27FC236}">
                <a16:creationId xmlns:a16="http://schemas.microsoft.com/office/drawing/2014/main" id="{3BF84282-F474-2DD6-8AC0-FB3D5F09C3C1}"/>
              </a:ext>
            </a:extLst>
          </p:cNvPr>
          <p:cNvSpPr/>
          <p:nvPr/>
        </p:nvSpPr>
        <p:spPr>
          <a:xfrm rot="10800000" flipH="1" flipV="1">
            <a:off x="2107385" y="3706190"/>
            <a:ext cx="1336524" cy="877456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58913" h="1510131">
                <a:moveTo>
                  <a:pt x="22658913" y="1468056"/>
                </a:moveTo>
                <a:cubicBezTo>
                  <a:pt x="14491249" y="1618136"/>
                  <a:pt x="2030824" y="1377250"/>
                  <a:pt x="0" y="575417"/>
                </a:cubicBezTo>
                <a:cubicBezTo>
                  <a:pt x="3087809" y="981763"/>
                  <a:pt x="14892457" y="756256"/>
                  <a:pt x="17733608" y="0"/>
                </a:cubicBezTo>
                <a:cubicBezTo>
                  <a:pt x="17909212" y="901956"/>
                  <a:pt x="22483309" y="566100"/>
                  <a:pt x="22658913" y="1468056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Seta: para a Direita 24">
            <a:extLst>
              <a:ext uri="{FF2B5EF4-FFF2-40B4-BE49-F238E27FC236}">
                <a16:creationId xmlns:a16="http://schemas.microsoft.com/office/drawing/2014/main" id="{AF8CD350-C24C-421E-EA44-64809C70B5BD}"/>
              </a:ext>
            </a:extLst>
          </p:cNvPr>
          <p:cNvSpPr/>
          <p:nvPr/>
        </p:nvSpPr>
        <p:spPr>
          <a:xfrm rot="5400000">
            <a:off x="1368476" y="2705389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2" name="Imagem 21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684446E0-F684-E2CA-DDDC-D60D0BA3718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79241" y="1380474"/>
            <a:ext cx="2544668" cy="1498086"/>
          </a:xfrm>
          <a:prstGeom prst="rect">
            <a:avLst/>
          </a:prstGeom>
        </p:spPr>
      </p:pic>
      <p:pic>
        <p:nvPicPr>
          <p:cNvPr id="26" name="Imagem 25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C0FBB9C9-0E3E-B962-1D71-D444615108F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7444" y="3066264"/>
            <a:ext cx="2836800" cy="1562675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27" name="Imagem 26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0274D6C9-83EF-380C-91E8-3E8D4EC9DA61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28615" y="3066264"/>
            <a:ext cx="2836800" cy="1561643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28" name="Imagem 27" descr="Diagrama, Gráfico de superfície&#10;&#10;Descrição gerada automaticamente com confiança média">
            <a:extLst>
              <a:ext uri="{FF2B5EF4-FFF2-40B4-BE49-F238E27FC236}">
                <a16:creationId xmlns:a16="http://schemas.microsoft.com/office/drawing/2014/main" id="{9BE53F8F-A76B-4BFE-FA09-4DC623C83E4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l="19269" b="18337"/>
          <a:stretch/>
        </p:blipFill>
        <p:spPr>
          <a:xfrm>
            <a:off x="3017444" y="1029927"/>
            <a:ext cx="2836800" cy="152302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29" name="Imagem 28" descr="Gráfico de superfície&#10;&#10;Descrição gerada automaticamente">
            <a:extLst>
              <a:ext uri="{FF2B5EF4-FFF2-40B4-BE49-F238E27FC236}">
                <a16:creationId xmlns:a16="http://schemas.microsoft.com/office/drawing/2014/main" id="{AEA03B8C-8F4A-D362-408E-DFAA8DF95E4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rcRect l="19269" b="18239"/>
          <a:stretch/>
        </p:blipFill>
        <p:spPr>
          <a:xfrm>
            <a:off x="6128615" y="1029927"/>
            <a:ext cx="2836800" cy="152302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350643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Imagem 34" descr="Diagrama&#10;&#10;Descrição gerada automaticamente">
            <a:extLst>
              <a:ext uri="{FF2B5EF4-FFF2-40B4-BE49-F238E27FC236}">
                <a16:creationId xmlns:a16="http://schemas.microsoft.com/office/drawing/2014/main" id="{8B504DDB-EC77-A110-9D89-53E021A0CC73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607" y="2182300"/>
            <a:ext cx="2753938" cy="1496850"/>
          </a:xfrm>
          <a:prstGeom prst="rect">
            <a:avLst/>
          </a:prstGeom>
        </p:spPr>
      </p:pic>
      <p:sp>
        <p:nvSpPr>
          <p:cNvPr id="24" name="Triângulo isósceles 9">
            <a:extLst>
              <a:ext uri="{FF2B5EF4-FFF2-40B4-BE49-F238E27FC236}">
                <a16:creationId xmlns:a16="http://schemas.microsoft.com/office/drawing/2014/main" id="{3BF84282-F474-2DD6-8AC0-FB3D5F09C3C1}"/>
              </a:ext>
            </a:extLst>
          </p:cNvPr>
          <p:cNvSpPr/>
          <p:nvPr/>
        </p:nvSpPr>
        <p:spPr>
          <a:xfrm rot="10800000" flipH="1" flipV="1">
            <a:off x="1975305" y="2960307"/>
            <a:ext cx="1346684" cy="1576673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9844053 w 23068393"/>
              <a:gd name="connsiteY2" fmla="*/ 1161847 h 4125320"/>
              <a:gd name="connsiteX3" fmla="*/ 23068393 w 23068393"/>
              <a:gd name="connsiteY3" fmla="*/ 4110008 h 4125320"/>
              <a:gd name="connsiteX0" fmla="*/ 23045048 w 23045048"/>
              <a:gd name="connsiteY0" fmla="*/ 4110008 h 4115093"/>
              <a:gd name="connsiteX1" fmla="*/ 213887 w 23045048"/>
              <a:gd name="connsiteY1" fmla="*/ 0 h 4115093"/>
              <a:gd name="connsiteX2" fmla="*/ 19820708 w 23045048"/>
              <a:gd name="connsiteY2" fmla="*/ 1161847 h 4115093"/>
              <a:gd name="connsiteX3" fmla="*/ 23045048 w 23045048"/>
              <a:gd name="connsiteY3" fmla="*/ 4110008 h 4115093"/>
              <a:gd name="connsiteX0" fmla="*/ 22831161 w 22831161"/>
              <a:gd name="connsiteY0" fmla="*/ 4110008 h 4114555"/>
              <a:gd name="connsiteX1" fmla="*/ 0 w 22831161"/>
              <a:gd name="connsiteY1" fmla="*/ 0 h 4114555"/>
              <a:gd name="connsiteX2" fmla="*/ 19606821 w 22831161"/>
              <a:gd name="connsiteY2" fmla="*/ 1161847 h 4114555"/>
              <a:gd name="connsiteX3" fmla="*/ 22831161 w 22831161"/>
              <a:gd name="connsiteY3" fmla="*/ 4110008 h 4114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31161" h="4114555">
                <a:moveTo>
                  <a:pt x="22831161" y="4110008"/>
                </a:moveTo>
                <a:cubicBezTo>
                  <a:pt x="16795081" y="4190488"/>
                  <a:pt x="2138478" y="3217947"/>
                  <a:pt x="0" y="0"/>
                </a:cubicBezTo>
                <a:cubicBezTo>
                  <a:pt x="3949056" y="1490460"/>
                  <a:pt x="15215428" y="1166219"/>
                  <a:pt x="19606821" y="1161847"/>
                </a:cubicBezTo>
                <a:cubicBezTo>
                  <a:pt x="19782425" y="2063803"/>
                  <a:pt x="22655557" y="3208052"/>
                  <a:pt x="22831161" y="4110008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Triângulo isósceles 9">
            <a:extLst>
              <a:ext uri="{FF2B5EF4-FFF2-40B4-BE49-F238E27FC236}">
                <a16:creationId xmlns:a16="http://schemas.microsoft.com/office/drawing/2014/main" id="{ABAAA8EB-D885-408D-17A2-E918A1A77C22}"/>
              </a:ext>
            </a:extLst>
          </p:cNvPr>
          <p:cNvSpPr/>
          <p:nvPr/>
        </p:nvSpPr>
        <p:spPr>
          <a:xfrm rot="10800000" flipH="1">
            <a:off x="2544949" y="1209714"/>
            <a:ext cx="639879" cy="1438870"/>
          </a:xfrm>
          <a:custGeom>
            <a:avLst/>
            <a:gdLst>
              <a:gd name="connsiteX0" fmla="*/ 0 w 3022684"/>
              <a:gd name="connsiteY0" fmla="*/ 991993 h 991993"/>
              <a:gd name="connsiteX1" fmla="*/ 3022684 w 3022684"/>
              <a:gd name="connsiteY1" fmla="*/ 0 h 991993"/>
              <a:gd name="connsiteX2" fmla="*/ 3022684 w 3022684"/>
              <a:gd name="connsiteY2" fmla="*/ 991993 h 991993"/>
              <a:gd name="connsiteX3" fmla="*/ 0 w 3022684"/>
              <a:gd name="connsiteY3" fmla="*/ 991993 h 991993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083601"/>
              <a:gd name="connsiteY0" fmla="*/ 3024774 h 3024774"/>
              <a:gd name="connsiteX1" fmla="*/ 5083601 w 5083601"/>
              <a:gd name="connsiteY1" fmla="*/ 0 h 3024774"/>
              <a:gd name="connsiteX2" fmla="*/ 3022684 w 5083601"/>
              <a:gd name="connsiteY2" fmla="*/ 3024774 h 3024774"/>
              <a:gd name="connsiteX3" fmla="*/ 0 w 5083601"/>
              <a:gd name="connsiteY3" fmla="*/ 3024774 h 3024774"/>
              <a:gd name="connsiteX0" fmla="*/ 0 w 5686579"/>
              <a:gd name="connsiteY0" fmla="*/ 3024774 h 3024774"/>
              <a:gd name="connsiteX1" fmla="*/ 5083601 w 5686579"/>
              <a:gd name="connsiteY1" fmla="*/ 0 h 3024774"/>
              <a:gd name="connsiteX2" fmla="*/ 5679735 w 5686579"/>
              <a:gd name="connsiteY2" fmla="*/ 2973135 h 3024774"/>
              <a:gd name="connsiteX3" fmla="*/ 0 w 5686579"/>
              <a:gd name="connsiteY3" fmla="*/ 3024774 h 3024774"/>
              <a:gd name="connsiteX0" fmla="*/ 0 w 5679735"/>
              <a:gd name="connsiteY0" fmla="*/ 3024774 h 3024774"/>
              <a:gd name="connsiteX1" fmla="*/ 5083601 w 5679735"/>
              <a:gd name="connsiteY1" fmla="*/ 0 h 3024774"/>
              <a:gd name="connsiteX2" fmla="*/ 5679735 w 5679735"/>
              <a:gd name="connsiteY2" fmla="*/ 2973135 h 3024774"/>
              <a:gd name="connsiteX3" fmla="*/ 0 w 5679735"/>
              <a:gd name="connsiteY3" fmla="*/ 3024774 h 3024774"/>
              <a:gd name="connsiteX0" fmla="*/ 0 w 3266078"/>
              <a:gd name="connsiteY0" fmla="*/ 3344934 h 3344934"/>
              <a:gd name="connsiteX1" fmla="*/ 2669944 w 3266078"/>
              <a:gd name="connsiteY1" fmla="*/ 0 h 3344934"/>
              <a:gd name="connsiteX2" fmla="*/ 3266078 w 3266078"/>
              <a:gd name="connsiteY2" fmla="*/ 2973135 h 3344934"/>
              <a:gd name="connsiteX3" fmla="*/ 0 w 3266078"/>
              <a:gd name="connsiteY3" fmla="*/ 3344934 h 3344934"/>
              <a:gd name="connsiteX0" fmla="*/ 169034 w 3435112"/>
              <a:gd name="connsiteY0" fmla="*/ 3344934 h 3344934"/>
              <a:gd name="connsiteX1" fmla="*/ 2838978 w 3435112"/>
              <a:gd name="connsiteY1" fmla="*/ 0 h 3344934"/>
              <a:gd name="connsiteX2" fmla="*/ 3435112 w 3435112"/>
              <a:gd name="connsiteY2" fmla="*/ 2973135 h 3344934"/>
              <a:gd name="connsiteX3" fmla="*/ 169034 w 3435112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169034 w 4266708"/>
              <a:gd name="connsiteY0" fmla="*/ 3344934 h 3344934"/>
              <a:gd name="connsiteX1" fmla="*/ 2838978 w 4266708"/>
              <a:gd name="connsiteY1" fmla="*/ 0 h 3344934"/>
              <a:gd name="connsiteX2" fmla="*/ 4266708 w 4266708"/>
              <a:gd name="connsiteY2" fmla="*/ 2807891 h 3344934"/>
              <a:gd name="connsiteX3" fmla="*/ 169034 w 4266708"/>
              <a:gd name="connsiteY3" fmla="*/ 3344934 h 3344934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2122897 w 6220571"/>
              <a:gd name="connsiteY0" fmla="*/ 2558056 h 2558056"/>
              <a:gd name="connsiteX1" fmla="*/ 712128 w 6220571"/>
              <a:gd name="connsiteY1" fmla="*/ 0 h 2558056"/>
              <a:gd name="connsiteX2" fmla="*/ 6220571 w 6220571"/>
              <a:gd name="connsiteY2" fmla="*/ 2021013 h 2558056"/>
              <a:gd name="connsiteX3" fmla="*/ 2122897 w 6220571"/>
              <a:gd name="connsiteY3" fmla="*/ 2558056 h 2558056"/>
              <a:gd name="connsiteX0" fmla="*/ 1410769 w 5508443"/>
              <a:gd name="connsiteY0" fmla="*/ 2558056 h 2558056"/>
              <a:gd name="connsiteX1" fmla="*/ 0 w 5508443"/>
              <a:gd name="connsiteY1" fmla="*/ 0 h 2558056"/>
              <a:gd name="connsiteX2" fmla="*/ 5508443 w 5508443"/>
              <a:gd name="connsiteY2" fmla="*/ 2021013 h 2558056"/>
              <a:gd name="connsiteX3" fmla="*/ 1410769 w 5508443"/>
              <a:gd name="connsiteY3" fmla="*/ 2558056 h 2558056"/>
              <a:gd name="connsiteX0" fmla="*/ 1410769 w 13722991"/>
              <a:gd name="connsiteY0" fmla="*/ 2678407 h 2678407"/>
              <a:gd name="connsiteX1" fmla="*/ 0 w 13722991"/>
              <a:gd name="connsiteY1" fmla="*/ 120351 h 2678407"/>
              <a:gd name="connsiteX2" fmla="*/ 13722991 w 13722991"/>
              <a:gd name="connsiteY2" fmla="*/ 385647 h 2678407"/>
              <a:gd name="connsiteX3" fmla="*/ 1410769 w 13722991"/>
              <a:gd name="connsiteY3" fmla="*/ 2678407 h 2678407"/>
              <a:gd name="connsiteX0" fmla="*/ 14229520 w 14229520"/>
              <a:gd name="connsiteY0" fmla="*/ 1645634 h 1645634"/>
              <a:gd name="connsiteX1" fmla="*/ 0 w 14229520"/>
              <a:gd name="connsiteY1" fmla="*/ 120353 h 1645634"/>
              <a:gd name="connsiteX2" fmla="*/ 13722991 w 14229520"/>
              <a:gd name="connsiteY2" fmla="*/ 385649 h 1645634"/>
              <a:gd name="connsiteX3" fmla="*/ 14229520 w 14229520"/>
              <a:gd name="connsiteY3" fmla="*/ 1645634 h 1645634"/>
              <a:gd name="connsiteX0" fmla="*/ 14229520 w 14229520"/>
              <a:gd name="connsiteY0" fmla="*/ 1645634 h 1772518"/>
              <a:gd name="connsiteX1" fmla="*/ 0 w 14229520"/>
              <a:gd name="connsiteY1" fmla="*/ 120353 h 1772518"/>
              <a:gd name="connsiteX2" fmla="*/ 13722991 w 14229520"/>
              <a:gd name="connsiteY2" fmla="*/ 385649 h 1772518"/>
              <a:gd name="connsiteX3" fmla="*/ 14229520 w 14229520"/>
              <a:gd name="connsiteY3" fmla="*/ 1645634 h 1772518"/>
              <a:gd name="connsiteX0" fmla="*/ 14229520 w 14229520"/>
              <a:gd name="connsiteY0" fmla="*/ 1525281 h 1652165"/>
              <a:gd name="connsiteX1" fmla="*/ 0 w 14229520"/>
              <a:gd name="connsiteY1" fmla="*/ 0 h 1652165"/>
              <a:gd name="connsiteX2" fmla="*/ 13722991 w 14229520"/>
              <a:gd name="connsiteY2" fmla="*/ 265296 h 1652165"/>
              <a:gd name="connsiteX3" fmla="*/ 14229520 w 14229520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229520 w 14432891"/>
              <a:gd name="connsiteY0" fmla="*/ 1525281 h 1652165"/>
              <a:gd name="connsiteX1" fmla="*/ 0 w 14432891"/>
              <a:gd name="connsiteY1" fmla="*/ 0 h 1652165"/>
              <a:gd name="connsiteX2" fmla="*/ 14432891 w 14432891"/>
              <a:gd name="connsiteY2" fmla="*/ 182674 h 1652165"/>
              <a:gd name="connsiteX3" fmla="*/ 14229520 w 14432891"/>
              <a:gd name="connsiteY3" fmla="*/ 1525281 h 1652165"/>
              <a:gd name="connsiteX0" fmla="*/ 14527424 w 14730795"/>
              <a:gd name="connsiteY0" fmla="*/ 1486552 h 1616426"/>
              <a:gd name="connsiteX1" fmla="*/ 0 w 14730795"/>
              <a:gd name="connsiteY1" fmla="*/ 0 h 1616426"/>
              <a:gd name="connsiteX2" fmla="*/ 14730795 w 14730795"/>
              <a:gd name="connsiteY2" fmla="*/ 143945 h 1616426"/>
              <a:gd name="connsiteX3" fmla="*/ 14527424 w 14730795"/>
              <a:gd name="connsiteY3" fmla="*/ 1486552 h 1616426"/>
              <a:gd name="connsiteX0" fmla="*/ 14527424 w 14730795"/>
              <a:gd name="connsiteY0" fmla="*/ 1486552 h 1616428"/>
              <a:gd name="connsiteX1" fmla="*/ 0 w 14730795"/>
              <a:gd name="connsiteY1" fmla="*/ 0 h 1616428"/>
              <a:gd name="connsiteX2" fmla="*/ 14730795 w 14730795"/>
              <a:gd name="connsiteY2" fmla="*/ 143945 h 1616428"/>
              <a:gd name="connsiteX3" fmla="*/ 14527424 w 14730795"/>
              <a:gd name="connsiteY3" fmla="*/ 1486552 h 1616428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730795"/>
              <a:gd name="connsiteY0" fmla="*/ 1486552 h 1623672"/>
              <a:gd name="connsiteX1" fmla="*/ 0 w 14730795"/>
              <a:gd name="connsiteY1" fmla="*/ 0 h 1623672"/>
              <a:gd name="connsiteX2" fmla="*/ 14730795 w 14730795"/>
              <a:gd name="connsiteY2" fmla="*/ 143945 h 1623672"/>
              <a:gd name="connsiteX3" fmla="*/ 14527424 w 14730795"/>
              <a:gd name="connsiteY3" fmla="*/ 1486552 h 1623672"/>
              <a:gd name="connsiteX0" fmla="*/ 14527424 w 14527424"/>
              <a:gd name="connsiteY0" fmla="*/ 1869322 h 2006442"/>
              <a:gd name="connsiteX1" fmla="*/ 0 w 14527424"/>
              <a:gd name="connsiteY1" fmla="*/ 382770 h 2006442"/>
              <a:gd name="connsiteX2" fmla="*/ 13128451 w 14527424"/>
              <a:gd name="connsiteY2" fmla="*/ 0 h 2006442"/>
              <a:gd name="connsiteX3" fmla="*/ 14527424 w 14527424"/>
              <a:gd name="connsiteY3" fmla="*/ 1869322 h 2006442"/>
              <a:gd name="connsiteX0" fmla="*/ 13716111 w 13716111"/>
              <a:gd name="connsiteY0" fmla="*/ 2736852 h 2824579"/>
              <a:gd name="connsiteX1" fmla="*/ 0 w 13716111"/>
              <a:gd name="connsiteY1" fmla="*/ 382770 h 2824579"/>
              <a:gd name="connsiteX2" fmla="*/ 13128451 w 13716111"/>
              <a:gd name="connsiteY2" fmla="*/ 0 h 2824579"/>
              <a:gd name="connsiteX3" fmla="*/ 13716111 w 13716111"/>
              <a:gd name="connsiteY3" fmla="*/ 2736852 h 2824579"/>
              <a:gd name="connsiteX0" fmla="*/ 13716111 w 13716111"/>
              <a:gd name="connsiteY0" fmla="*/ 2705869 h 2793594"/>
              <a:gd name="connsiteX1" fmla="*/ 0 w 13716111"/>
              <a:gd name="connsiteY1" fmla="*/ 351787 h 2793594"/>
              <a:gd name="connsiteX2" fmla="*/ 13189300 w 13716111"/>
              <a:gd name="connsiteY2" fmla="*/ 0 h 2793594"/>
              <a:gd name="connsiteX3" fmla="*/ 13716111 w 13716111"/>
              <a:gd name="connsiteY3" fmla="*/ 2705869 h 2793594"/>
              <a:gd name="connsiteX0" fmla="*/ 13716111 w 13716111"/>
              <a:gd name="connsiteY0" fmla="*/ 2705869 h 2793596"/>
              <a:gd name="connsiteX1" fmla="*/ 0 w 13716111"/>
              <a:gd name="connsiteY1" fmla="*/ 351787 h 2793596"/>
              <a:gd name="connsiteX2" fmla="*/ 13189300 w 13716111"/>
              <a:gd name="connsiteY2" fmla="*/ 0 h 2793596"/>
              <a:gd name="connsiteX3" fmla="*/ 13716111 w 13716111"/>
              <a:gd name="connsiteY3" fmla="*/ 2705869 h 2793596"/>
              <a:gd name="connsiteX0" fmla="*/ 13716111 w 18226738"/>
              <a:gd name="connsiteY0" fmla="*/ 2354082 h 2441807"/>
              <a:gd name="connsiteX1" fmla="*/ 0 w 18226738"/>
              <a:gd name="connsiteY1" fmla="*/ 0 h 2441807"/>
              <a:gd name="connsiteX2" fmla="*/ 18222088 w 18226738"/>
              <a:gd name="connsiteY2" fmla="*/ 1212603 h 2441807"/>
              <a:gd name="connsiteX3" fmla="*/ 13716111 w 18226738"/>
              <a:gd name="connsiteY3" fmla="*/ 2354082 h 2441807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568703"/>
              <a:gd name="connsiteX1" fmla="*/ 0 w 18226439"/>
              <a:gd name="connsiteY1" fmla="*/ 0 h 2568703"/>
              <a:gd name="connsiteX2" fmla="*/ 18222088 w 18226439"/>
              <a:gd name="connsiteY2" fmla="*/ 1212603 h 2568703"/>
              <a:gd name="connsiteX3" fmla="*/ 13374905 w 18226439"/>
              <a:gd name="connsiteY3" fmla="*/ 2485582 h 2568703"/>
              <a:gd name="connsiteX0" fmla="*/ 13374905 w 18226439"/>
              <a:gd name="connsiteY0" fmla="*/ 2485582 h 2485582"/>
              <a:gd name="connsiteX1" fmla="*/ 0 w 18226439"/>
              <a:gd name="connsiteY1" fmla="*/ 0 h 2485582"/>
              <a:gd name="connsiteX2" fmla="*/ 18222088 w 18226439"/>
              <a:gd name="connsiteY2" fmla="*/ 1212603 h 2485582"/>
              <a:gd name="connsiteX3" fmla="*/ 13374905 w 18226439"/>
              <a:gd name="connsiteY3" fmla="*/ 2485582 h 2485582"/>
              <a:gd name="connsiteX0" fmla="*/ 16730096 w 18233902"/>
              <a:gd name="connsiteY0" fmla="*/ 2408496 h 2408496"/>
              <a:gd name="connsiteX1" fmla="*/ 0 w 18233902"/>
              <a:gd name="connsiteY1" fmla="*/ 0 h 2408496"/>
              <a:gd name="connsiteX2" fmla="*/ 18222088 w 18233902"/>
              <a:gd name="connsiteY2" fmla="*/ 1212603 h 2408496"/>
              <a:gd name="connsiteX3" fmla="*/ 16730096 w 18233902"/>
              <a:gd name="connsiteY3" fmla="*/ 2408496 h 2408496"/>
              <a:gd name="connsiteX0" fmla="*/ 16730096 w 19934431"/>
              <a:gd name="connsiteY0" fmla="*/ 2408496 h 2408496"/>
              <a:gd name="connsiteX1" fmla="*/ 0 w 19934431"/>
              <a:gd name="connsiteY1" fmla="*/ 0 h 2408496"/>
              <a:gd name="connsiteX2" fmla="*/ 19928118 w 19934431"/>
              <a:gd name="connsiteY2" fmla="*/ 1217138 h 2408496"/>
              <a:gd name="connsiteX3" fmla="*/ 16730096 w 19934431"/>
              <a:gd name="connsiteY3" fmla="*/ 2408496 h 2408496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20048166"/>
              <a:gd name="connsiteY0" fmla="*/ 2476513 h 2476513"/>
              <a:gd name="connsiteX1" fmla="*/ 0 w 20048166"/>
              <a:gd name="connsiteY1" fmla="*/ 0 h 2476513"/>
              <a:gd name="connsiteX2" fmla="*/ 20041853 w 20048166"/>
              <a:gd name="connsiteY2" fmla="*/ 1285155 h 2476513"/>
              <a:gd name="connsiteX3" fmla="*/ 16843831 w 20048166"/>
              <a:gd name="connsiteY3" fmla="*/ 2476513 h 2476513"/>
              <a:gd name="connsiteX0" fmla="*/ 16843831 w 18634826"/>
              <a:gd name="connsiteY0" fmla="*/ 3058588 h 3058588"/>
              <a:gd name="connsiteX1" fmla="*/ 0 w 18634826"/>
              <a:gd name="connsiteY1" fmla="*/ 582075 h 3058588"/>
              <a:gd name="connsiteX2" fmla="*/ 18624534 w 18634826"/>
              <a:gd name="connsiteY2" fmla="*/ 11127 h 3058588"/>
              <a:gd name="connsiteX3" fmla="*/ 16843831 w 18634826"/>
              <a:gd name="connsiteY3" fmla="*/ 3058588 h 3058588"/>
              <a:gd name="connsiteX0" fmla="*/ 22355619 w 22355619"/>
              <a:gd name="connsiteY0" fmla="*/ 1474716 h 1474716"/>
              <a:gd name="connsiteX1" fmla="*/ 0 w 22355619"/>
              <a:gd name="connsiteY1" fmla="*/ 582077 h 1474716"/>
              <a:gd name="connsiteX2" fmla="*/ 18624534 w 22355619"/>
              <a:gd name="connsiteY2" fmla="*/ 11129 h 1474716"/>
              <a:gd name="connsiteX3" fmla="*/ 22355619 w 22355619"/>
              <a:gd name="connsiteY3" fmla="*/ 1474716 h 1474716"/>
              <a:gd name="connsiteX0" fmla="*/ 22355619 w 22355619"/>
              <a:gd name="connsiteY0" fmla="*/ 1474716 h 1516791"/>
              <a:gd name="connsiteX1" fmla="*/ 0 w 22355619"/>
              <a:gd name="connsiteY1" fmla="*/ 582077 h 1516791"/>
              <a:gd name="connsiteX2" fmla="*/ 18624534 w 22355619"/>
              <a:gd name="connsiteY2" fmla="*/ 11129 h 1516791"/>
              <a:gd name="connsiteX3" fmla="*/ 22355619 w 22355619"/>
              <a:gd name="connsiteY3" fmla="*/ 1474716 h 1516791"/>
              <a:gd name="connsiteX0" fmla="*/ 22355619 w 22355619"/>
              <a:gd name="connsiteY0" fmla="*/ 1740767 h 1782842"/>
              <a:gd name="connsiteX1" fmla="*/ 0 w 22355619"/>
              <a:gd name="connsiteY1" fmla="*/ 848128 h 1782842"/>
              <a:gd name="connsiteX2" fmla="*/ 13980343 w 22355619"/>
              <a:gd name="connsiteY2" fmla="*/ 9076 h 1782842"/>
              <a:gd name="connsiteX3" fmla="*/ 22355619 w 22355619"/>
              <a:gd name="connsiteY3" fmla="*/ 1740767 h 1782842"/>
              <a:gd name="connsiteX0" fmla="*/ 22355619 w 22355619"/>
              <a:gd name="connsiteY0" fmla="*/ 1731691 h 1773766"/>
              <a:gd name="connsiteX1" fmla="*/ 0 w 22355619"/>
              <a:gd name="connsiteY1" fmla="*/ 839052 h 1773766"/>
              <a:gd name="connsiteX2" fmla="*/ 13980343 w 22355619"/>
              <a:gd name="connsiteY2" fmla="*/ 0 h 1773766"/>
              <a:gd name="connsiteX3" fmla="*/ 22355619 w 22355619"/>
              <a:gd name="connsiteY3" fmla="*/ 1731691 h 1773766"/>
              <a:gd name="connsiteX0" fmla="*/ 22355619 w 22355619"/>
              <a:gd name="connsiteY0" fmla="*/ 1468056 h 1510131"/>
              <a:gd name="connsiteX1" fmla="*/ 0 w 22355619"/>
              <a:gd name="connsiteY1" fmla="*/ 575417 h 1510131"/>
              <a:gd name="connsiteX2" fmla="*/ 17430314 w 22355619"/>
              <a:gd name="connsiteY2" fmla="*/ 0 h 1510131"/>
              <a:gd name="connsiteX3" fmla="*/ 22355619 w 22355619"/>
              <a:gd name="connsiteY3" fmla="*/ 1468056 h 1510131"/>
              <a:gd name="connsiteX0" fmla="*/ 22658913 w 22658913"/>
              <a:gd name="connsiteY0" fmla="*/ 1468056 h 1510131"/>
              <a:gd name="connsiteX1" fmla="*/ 0 w 22658913"/>
              <a:gd name="connsiteY1" fmla="*/ 575417 h 1510131"/>
              <a:gd name="connsiteX2" fmla="*/ 17733608 w 22658913"/>
              <a:gd name="connsiteY2" fmla="*/ 0 h 1510131"/>
              <a:gd name="connsiteX3" fmla="*/ 22658913 w 22658913"/>
              <a:gd name="connsiteY3" fmla="*/ 1468056 h 1510131"/>
              <a:gd name="connsiteX0" fmla="*/ 24898146 w 24898146"/>
              <a:gd name="connsiteY0" fmla="*/ 4144979 h 4149671"/>
              <a:gd name="connsiteX1" fmla="*/ 0 w 24898146"/>
              <a:gd name="connsiteY1" fmla="*/ 0 h 4149671"/>
              <a:gd name="connsiteX2" fmla="*/ 19972841 w 24898146"/>
              <a:gd name="connsiteY2" fmla="*/ 2676923 h 4149671"/>
              <a:gd name="connsiteX3" fmla="*/ 24898146 w 24898146"/>
              <a:gd name="connsiteY3" fmla="*/ 4144979 h 4149671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186948 w 25112253"/>
              <a:gd name="connsiteY2" fmla="*/ 2676923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5112253 w 25112253"/>
              <a:gd name="connsiteY0" fmla="*/ 4144979 h 4159853"/>
              <a:gd name="connsiteX1" fmla="*/ 214107 w 25112253"/>
              <a:gd name="connsiteY1" fmla="*/ 0 h 4159853"/>
              <a:gd name="connsiteX2" fmla="*/ 20531454 w 25112253"/>
              <a:gd name="connsiteY2" fmla="*/ 1907552 h 4159853"/>
              <a:gd name="connsiteX3" fmla="*/ 25112253 w 25112253"/>
              <a:gd name="connsiteY3" fmla="*/ 4144979 h 4159853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20554579 w 23068393"/>
              <a:gd name="connsiteY2" fmla="*/ 1907552 h 4125320"/>
              <a:gd name="connsiteX3" fmla="*/ 23068393 w 23068393"/>
              <a:gd name="connsiteY3" fmla="*/ 4110008 h 4125320"/>
              <a:gd name="connsiteX0" fmla="*/ 23068393 w 23068393"/>
              <a:gd name="connsiteY0" fmla="*/ 4110008 h 4125320"/>
              <a:gd name="connsiteX1" fmla="*/ 237232 w 23068393"/>
              <a:gd name="connsiteY1" fmla="*/ 0 h 4125320"/>
              <a:gd name="connsiteX2" fmla="*/ 16622569 w 23068393"/>
              <a:gd name="connsiteY2" fmla="*/ 1339555 h 4125320"/>
              <a:gd name="connsiteX3" fmla="*/ 23068393 w 23068393"/>
              <a:gd name="connsiteY3" fmla="*/ 4110008 h 4125320"/>
              <a:gd name="connsiteX0" fmla="*/ 19049179 w 19049179"/>
              <a:gd name="connsiteY0" fmla="*/ 4457118 h 4468921"/>
              <a:gd name="connsiteX1" fmla="*/ 301267 w 19049179"/>
              <a:gd name="connsiteY1" fmla="*/ 0 h 4468921"/>
              <a:gd name="connsiteX2" fmla="*/ 16686604 w 19049179"/>
              <a:gd name="connsiteY2" fmla="*/ 1339555 h 4468921"/>
              <a:gd name="connsiteX3" fmla="*/ 19049179 w 19049179"/>
              <a:gd name="connsiteY3" fmla="*/ 4457118 h 4468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49179" h="4468921">
                <a:moveTo>
                  <a:pt x="19049179" y="4457118"/>
                </a:moveTo>
                <a:cubicBezTo>
                  <a:pt x="10881515" y="4607198"/>
                  <a:pt x="-2146377" y="3337259"/>
                  <a:pt x="301267" y="0"/>
                </a:cubicBezTo>
                <a:cubicBezTo>
                  <a:pt x="4250323" y="1490460"/>
                  <a:pt x="12295211" y="1343927"/>
                  <a:pt x="16686604" y="1339555"/>
                </a:cubicBezTo>
                <a:cubicBezTo>
                  <a:pt x="16862208" y="2241511"/>
                  <a:pt x="18873575" y="3555162"/>
                  <a:pt x="19049179" y="4457118"/>
                </a:cubicBezTo>
                <a:close/>
              </a:path>
            </a:pathLst>
          </a:custGeom>
          <a:gradFill>
            <a:gsLst>
              <a:gs pos="0">
                <a:srgbClr val="B50130">
                  <a:alpha val="20000"/>
                </a:srgbClr>
              </a:gs>
              <a:gs pos="100000">
                <a:srgbClr val="B50130"/>
              </a:gs>
            </a:gsLst>
            <a:lin ang="4200000" scaled="0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8</a:t>
            </a:fld>
            <a:r>
              <a:rPr lang="en-US"/>
              <a:t> |</a:t>
            </a:r>
            <a:endParaRPr lang="fr-FR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C18C65AA-3606-2A3B-7EAF-84EAB5D12979}"/>
              </a:ext>
            </a:extLst>
          </p:cNvPr>
          <p:cNvSpPr txBox="1"/>
          <p:nvPr/>
        </p:nvSpPr>
        <p:spPr>
          <a:xfrm>
            <a:off x="410428" y="1532521"/>
            <a:ext cx="20822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B50130"/>
                </a:solidFill>
              </a:rPr>
              <a:t>5</a:t>
            </a:r>
            <a:r>
              <a:rPr lang="en-US" sz="1400" baseline="30000" dirty="0">
                <a:solidFill>
                  <a:srgbClr val="B50130"/>
                </a:solidFill>
              </a:rPr>
              <a:t>th</a:t>
            </a:r>
            <a:r>
              <a:rPr lang="en-US" sz="1400" dirty="0">
                <a:solidFill>
                  <a:srgbClr val="B50130"/>
                </a:solidFill>
              </a:rPr>
              <a:t> Bracket:</a:t>
            </a:r>
          </a:p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8 screws (6x16mm)</a:t>
            </a:r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F5DD8461-816C-B574-762A-6589C398580D}"/>
              </a:ext>
            </a:extLst>
          </p:cNvPr>
          <p:cNvSpPr/>
          <p:nvPr/>
        </p:nvSpPr>
        <p:spPr>
          <a:xfrm>
            <a:off x="5908040" y="1532521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" name="Seta: para a Direita 22">
            <a:extLst>
              <a:ext uri="{FF2B5EF4-FFF2-40B4-BE49-F238E27FC236}">
                <a16:creationId xmlns:a16="http://schemas.microsoft.com/office/drawing/2014/main" id="{BD4F933F-2E74-967C-F99C-25D5795D04D2}"/>
              </a:ext>
            </a:extLst>
          </p:cNvPr>
          <p:cNvSpPr/>
          <p:nvPr/>
        </p:nvSpPr>
        <p:spPr>
          <a:xfrm>
            <a:off x="5908040" y="3548284"/>
            <a:ext cx="166198" cy="534046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30" name="Imagem 29" descr="Diagrama, Desenho técnico&#10;&#10;Descrição gerada automaticamente">
            <a:extLst>
              <a:ext uri="{FF2B5EF4-FFF2-40B4-BE49-F238E27FC236}">
                <a16:creationId xmlns:a16="http://schemas.microsoft.com/office/drawing/2014/main" id="{F5095FE4-8AAE-FD60-FC3A-2586F6BADD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7444" y="3066264"/>
            <a:ext cx="2836800" cy="161075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31" name="Imagem 30" descr="Desenho de uma pessoa&#10;&#10;Descrição gerada automaticamente com confiança baixa">
            <a:extLst>
              <a:ext uri="{FF2B5EF4-FFF2-40B4-BE49-F238E27FC236}">
                <a16:creationId xmlns:a16="http://schemas.microsoft.com/office/drawing/2014/main" id="{DD9CF1AF-C9C1-9EE2-D388-FEDC1333C1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8615" y="3066264"/>
            <a:ext cx="2836800" cy="1611863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32" name="Imagem 31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72BCD447-2CE2-921B-DAA4-3F85B824D6D6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17444" y="1029927"/>
            <a:ext cx="2836800" cy="1483118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  <p:pic>
        <p:nvPicPr>
          <p:cNvPr id="33" name="Imagem 32" descr="Uma imagem contendo Interface gráfica do usuário&#10;&#10;Descrição gerada automaticamente">
            <a:extLst>
              <a:ext uri="{FF2B5EF4-FFF2-40B4-BE49-F238E27FC236}">
                <a16:creationId xmlns:a16="http://schemas.microsoft.com/office/drawing/2014/main" id="{53367A64-CA8A-13CE-A16B-31EA9947D5E3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128615" y="1029927"/>
            <a:ext cx="2836800" cy="1484915"/>
          </a:xfrm>
          <a:prstGeom prst="rect">
            <a:avLst/>
          </a:prstGeom>
          <a:solidFill>
            <a:schemeClr val="bg1"/>
          </a:solidFill>
          <a:ln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307340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72A30F6-3E9E-47DE-8346-330B3D449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9</a:t>
            </a:fld>
            <a:r>
              <a:rPr lang="en-US"/>
              <a:t> |</a:t>
            </a:r>
            <a:endParaRPr lang="fr-FR" dirty="0"/>
          </a:p>
        </p:txBody>
      </p:sp>
      <p:pic>
        <p:nvPicPr>
          <p:cNvPr id="8" name="Imagem 7" descr="Diagrama&#10;&#10;Descrição gerada automaticamente com confiança média">
            <a:extLst>
              <a:ext uri="{FF2B5EF4-FFF2-40B4-BE49-F238E27FC236}">
                <a16:creationId xmlns:a16="http://schemas.microsoft.com/office/drawing/2014/main" id="{66D01858-D3EE-DCD1-6A8C-D466A49C47B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200"/>
              </a:clrFrom>
              <a:clrTo>
                <a:srgbClr val="FFF2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-2735282" y="1169889"/>
            <a:ext cx="9674418" cy="428226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06DEFE18-55BB-4C22-BC5B-8C587D61F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RECOVERY MODULE INSTALLATION</a:t>
            </a:r>
            <a:endParaRPr lang="en-GB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CC73A07-4948-4539-BEBF-0EDE4E5E146B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GB" dirty="0"/>
              <a:t>FLOW CURB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02730690-76DB-4542-B506-113C7A444D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07/09/2022</a:t>
            </a:fld>
            <a:endParaRPr lang="fr-FR" dirty="0"/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F31CFFD2-3478-2F50-0485-299EDA11714A}"/>
              </a:ext>
            </a:extLst>
          </p:cNvPr>
          <p:cNvSpPr txBox="1"/>
          <p:nvPr/>
        </p:nvSpPr>
        <p:spPr>
          <a:xfrm>
            <a:off x="1117600" y="706608"/>
            <a:ext cx="6908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Adjust the position of both attachment brackets so that they are </a:t>
            </a:r>
            <a:r>
              <a:rPr lang="en-US" sz="1400" dirty="0">
                <a:solidFill>
                  <a:srgbClr val="B50130"/>
                </a:solidFill>
              </a:rPr>
              <a:t>at least 5 mm above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support surface (without the foam) and tighten all the bracket bolts;</a:t>
            </a:r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A94AA475-C617-0B01-AD66-A21ACCB6956D}"/>
              </a:ext>
            </a:extLst>
          </p:cNvPr>
          <p:cNvCxnSpPr>
            <a:cxnSpLocks/>
          </p:cNvCxnSpPr>
          <p:nvPr/>
        </p:nvCxnSpPr>
        <p:spPr>
          <a:xfrm>
            <a:off x="4382626" y="1743691"/>
            <a:ext cx="1611630" cy="0"/>
          </a:xfrm>
          <a:prstGeom prst="line">
            <a:avLst/>
          </a:prstGeom>
          <a:ln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>
            <a:extLst>
              <a:ext uri="{FF2B5EF4-FFF2-40B4-BE49-F238E27FC236}">
                <a16:creationId xmlns:a16="http://schemas.microsoft.com/office/drawing/2014/main" id="{F2819816-648E-3737-5EAB-52F56F0780D3}"/>
              </a:ext>
            </a:extLst>
          </p:cNvPr>
          <p:cNvCxnSpPr>
            <a:cxnSpLocks/>
          </p:cNvCxnSpPr>
          <p:nvPr/>
        </p:nvCxnSpPr>
        <p:spPr>
          <a:xfrm>
            <a:off x="3780646" y="1762741"/>
            <a:ext cx="712470" cy="0"/>
          </a:xfrm>
          <a:prstGeom prst="line">
            <a:avLst/>
          </a:prstGeom>
          <a:ln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id="{AE1B3B6C-B568-4FF7-BCCF-A5A3C3FC9109}"/>
              </a:ext>
            </a:extLst>
          </p:cNvPr>
          <p:cNvCxnSpPr>
            <a:cxnSpLocks/>
          </p:cNvCxnSpPr>
          <p:nvPr/>
        </p:nvCxnSpPr>
        <p:spPr>
          <a:xfrm>
            <a:off x="4437094" y="1481241"/>
            <a:ext cx="0" cy="262450"/>
          </a:xfrm>
          <a:prstGeom prst="straightConnector1">
            <a:avLst/>
          </a:prstGeom>
          <a:ln w="22225">
            <a:solidFill>
              <a:srgbClr val="B5013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id="{AF939418-B6D9-A8C0-8A68-725229AB2EF1}"/>
              </a:ext>
            </a:extLst>
          </p:cNvPr>
          <p:cNvCxnSpPr>
            <a:cxnSpLocks/>
          </p:cNvCxnSpPr>
          <p:nvPr/>
        </p:nvCxnSpPr>
        <p:spPr>
          <a:xfrm flipV="1">
            <a:off x="4437094" y="1762741"/>
            <a:ext cx="0" cy="200465"/>
          </a:xfrm>
          <a:prstGeom prst="straightConnector1">
            <a:avLst/>
          </a:prstGeom>
          <a:ln w="22225">
            <a:solidFill>
              <a:srgbClr val="B5013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5ACD7903-DA81-A6A7-98C7-F2541B0C28A7}"/>
              </a:ext>
            </a:extLst>
          </p:cNvPr>
          <p:cNvSpPr txBox="1"/>
          <p:nvPr/>
        </p:nvSpPr>
        <p:spPr>
          <a:xfrm>
            <a:off x="4410566" y="1384034"/>
            <a:ext cx="1611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B50130"/>
                </a:solidFill>
              </a:rPr>
              <a:t>5 mm minimum</a:t>
            </a:r>
          </a:p>
        </p:txBody>
      </p:sp>
      <p:pic>
        <p:nvPicPr>
          <p:cNvPr id="1030" name="Picture 6" descr="Stabila 96-2 Series 1200mm Box Frame Spirit Level - 3 Vial">
            <a:extLst>
              <a:ext uri="{FF2B5EF4-FFF2-40B4-BE49-F238E27FC236}">
                <a16:creationId xmlns:a16="http://schemas.microsoft.com/office/drawing/2014/main" id="{6C4F6A3D-CD07-8411-A820-44A117EB22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162" t="13448" r="-5539" b="24854"/>
          <a:stretch/>
        </p:blipFill>
        <p:spPr bwMode="auto">
          <a:xfrm>
            <a:off x="5649349" y="2948919"/>
            <a:ext cx="3258423" cy="1586704"/>
          </a:xfrm>
          <a:prstGeom prst="rect">
            <a:avLst/>
          </a:prstGeom>
          <a:ln>
            <a:solidFill>
              <a:srgbClr val="B5013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2AAAD3E-E547-5ED8-2661-21BAA10ADFB8}"/>
              </a:ext>
            </a:extLst>
          </p:cNvPr>
          <p:cNvSpPr txBox="1"/>
          <p:nvPr/>
        </p:nvSpPr>
        <p:spPr>
          <a:xfrm>
            <a:off x="5650662" y="2955051"/>
            <a:ext cx="25010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ake sure to use a </a:t>
            </a:r>
            <a:r>
              <a:rPr lang="en-US" sz="1400" dirty="0">
                <a:solidFill>
                  <a:srgbClr val="B50130"/>
                </a:solidFill>
              </a:rPr>
              <a:t>spirit level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for this alignment.</a:t>
            </a:r>
          </a:p>
        </p:txBody>
      </p:sp>
    </p:spTree>
    <p:extLst>
      <p:ext uri="{BB962C8B-B14F-4D97-AF65-F5344CB8AC3E}">
        <p14:creationId xmlns:p14="http://schemas.microsoft.com/office/powerpoint/2010/main" val="109024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LENNOX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Grill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ll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LENNOX - Product launch</Template>
  <TotalTime>0</TotalTime>
  <Words>950</Words>
  <Application>Microsoft Office PowerPoint</Application>
  <PresentationFormat>Affichage à l'écran (16:9)</PresentationFormat>
  <Paragraphs>200</Paragraphs>
  <Slides>33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3</vt:i4>
      </vt:variant>
    </vt:vector>
  </HeadingPairs>
  <TitlesOfParts>
    <vt:vector size="40" baseType="lpstr">
      <vt:lpstr>Arial</vt:lpstr>
      <vt:lpstr>Calibri</vt:lpstr>
      <vt:lpstr>Franklin Gothic Medium</vt:lpstr>
      <vt:lpstr>Wingdings</vt:lpstr>
      <vt:lpstr>Wingdings 2</vt:lpstr>
      <vt:lpstr>LENNOX</vt:lpstr>
      <vt:lpstr>think-cell Slide</vt:lpstr>
      <vt:lpstr>e-Baltic     RECOVERY MODULE INSTALLATION PROCESS  PLATE HEAT EXCHANGER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RECOVERY MODULE INSTALLATION</vt:lpstr>
      <vt:lpstr>THANK YOU! </vt:lpstr>
    </vt:vector>
  </TitlesOfParts>
  <Company>LGL FRAN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ego Kalume</dc:creator>
  <cp:lastModifiedBy>Thieblemont, Alexandre</cp:lastModifiedBy>
  <cp:revision>1110</cp:revision>
  <dcterms:created xsi:type="dcterms:W3CDTF">2020-04-27T20:03:46Z</dcterms:created>
  <dcterms:modified xsi:type="dcterms:W3CDTF">2022-09-07T08:12:36Z</dcterms:modified>
</cp:coreProperties>
</file>